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4"/>
    <p:sldMasterId id="2147483650" r:id="rId5"/>
    <p:sldMasterId id="2147483923" r:id="rId6"/>
  </p:sldMasterIdLst>
  <p:notesMasterIdLst>
    <p:notesMasterId r:id="rId36"/>
  </p:notesMasterIdLst>
  <p:handoutMasterIdLst>
    <p:handoutMasterId r:id="rId37"/>
  </p:handoutMasterIdLst>
  <p:sldIdLst>
    <p:sldId id="256" r:id="rId7"/>
    <p:sldId id="340" r:id="rId8"/>
    <p:sldId id="342" r:id="rId9"/>
    <p:sldId id="288" r:id="rId10"/>
    <p:sldId id="333" r:id="rId11"/>
    <p:sldId id="325" r:id="rId12"/>
    <p:sldId id="312" r:id="rId13"/>
    <p:sldId id="326" r:id="rId14"/>
    <p:sldId id="314" r:id="rId15"/>
    <p:sldId id="315" r:id="rId16"/>
    <p:sldId id="321" r:id="rId17"/>
    <p:sldId id="316" r:id="rId18"/>
    <p:sldId id="334" r:id="rId19"/>
    <p:sldId id="297" r:id="rId20"/>
    <p:sldId id="273" r:id="rId21"/>
    <p:sldId id="274" r:id="rId22"/>
    <p:sldId id="336" r:id="rId23"/>
    <p:sldId id="322" r:id="rId24"/>
    <p:sldId id="323" r:id="rId25"/>
    <p:sldId id="324" r:id="rId26"/>
    <p:sldId id="303" r:id="rId27"/>
    <p:sldId id="304" r:id="rId28"/>
    <p:sldId id="307" r:id="rId29"/>
    <p:sldId id="341" r:id="rId30"/>
    <p:sldId id="337" r:id="rId31"/>
    <p:sldId id="317" r:id="rId32"/>
    <p:sldId id="318" r:id="rId33"/>
    <p:sldId id="319" r:id="rId34"/>
    <p:sldId id="339" r:id="rId35"/>
  </p:sldIdLst>
  <p:sldSz cx="9144000" cy="6858000" type="screen4x3"/>
  <p:notesSz cx="6858000" cy="9926638"/>
  <p:custDataLst>
    <p:tags r:id="rId3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116">
          <p15:clr>
            <a:srgbClr val="A4A3A4"/>
          </p15:clr>
        </p15:guide>
        <p15:guide id="3" orient="horz" pos="803">
          <p15:clr>
            <a:srgbClr val="A4A3A4"/>
          </p15:clr>
        </p15:guide>
        <p15:guide id="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Y See (jysee)" initials="JS(" lastIdx="7" clrIdx="0">
    <p:extLst>
      <p:ext uri="{19B8F6BF-5375-455C-9EA6-DF929625EA0E}">
        <p15:presenceInfo xmlns:p15="http://schemas.microsoft.com/office/powerpoint/2012/main" userId="JY See (jysee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B6B6"/>
    <a:srgbClr val="A7A7A7"/>
    <a:srgbClr val="9DBE5A"/>
    <a:srgbClr val="FFFFFF"/>
    <a:srgbClr val="FEF0F2"/>
    <a:srgbClr val="F8A6B4"/>
    <a:srgbClr val="0065CC"/>
    <a:srgbClr val="91AFFF"/>
    <a:srgbClr val="F4688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0" autoAdjust="0"/>
    <p:restoredTop sz="94280" autoAdjust="0"/>
  </p:normalViewPr>
  <p:slideViewPr>
    <p:cSldViewPr snapToGrid="0">
      <p:cViewPr varScale="1">
        <p:scale>
          <a:sx n="70" d="100"/>
          <a:sy n="70" d="100"/>
        </p:scale>
        <p:origin x="1500" y="66"/>
      </p:cViewPr>
      <p:guideLst>
        <p:guide orient="horz" pos="4319"/>
        <p:guide pos="116"/>
        <p:guide orient="horz" pos="803"/>
        <p:guide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2076" y="-108"/>
      </p:cViewPr>
      <p:guideLst>
        <p:guide orient="horz" pos="3127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FB6538-DBA1-46DD-8A79-E7ED48DEE8E4}" type="doc">
      <dgm:prSet loTypeId="urn:microsoft.com/office/officeart/2008/layout/VerticalCurvedList" loCatId="list" qsTypeId="urn:microsoft.com/office/officeart/2005/8/quickstyle/3d3" qsCatId="3D" csTypeId="urn:microsoft.com/office/officeart/2005/8/colors/colorful1#1" csCatId="colorful" phldr="1"/>
      <dgm:spPr/>
      <dgm:t>
        <a:bodyPr/>
        <a:lstStyle/>
        <a:p>
          <a:endParaRPr lang="en-SG"/>
        </a:p>
      </dgm:t>
    </dgm:pt>
    <dgm:pt modelId="{356BADAE-71F5-429D-9E71-D7BCD2798760}">
      <dgm:prSet phldrT="[Text]"/>
      <dgm:spPr>
        <a:xfrm>
          <a:off x="641196" y="275260"/>
          <a:ext cx="6369234" cy="476493"/>
        </a:xfrm>
        <a:solidFill>
          <a:srgbClr val="C0504D">
            <a:hueOff val="0"/>
            <a:satOff val="0"/>
            <a:lumOff val="0"/>
          </a:srgb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Introduction</a:t>
          </a:r>
          <a:endParaRPr lang="en-SG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520B9485-E84F-4927-ACEB-E15602884A61}" type="parTrans" cxnId="{99AEDB80-6ED3-436D-8C64-9637AE59A17F}">
      <dgm:prSet/>
      <dgm:spPr/>
      <dgm:t>
        <a:bodyPr/>
        <a:lstStyle/>
        <a:p>
          <a:endParaRPr lang="en-SG"/>
        </a:p>
      </dgm:t>
    </dgm:pt>
    <dgm:pt modelId="{52FD0F21-3724-43A0-8B5E-6852FB0D059A}" type="sibTrans" cxnId="{99AEDB80-6ED3-436D-8C64-9637AE59A17F}">
      <dgm:prSet/>
      <dgm:spPr>
        <a:xfrm>
          <a:off x="-5662316" y="-783865"/>
          <a:ext cx="7184343" cy="6093694"/>
        </a:xfr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gm:spPr>
      <dgm:t>
        <a:bodyPr/>
        <a:lstStyle/>
        <a:p>
          <a:endParaRPr lang="en-SG" dirty="0"/>
        </a:p>
      </dgm:t>
    </dgm:pt>
    <dgm:pt modelId="{1D92B34E-F6EA-4C5E-8ACA-7FA51DB1597A}">
      <dgm:prSet phldrT="[Text]"/>
      <dgm:spPr>
        <a:xfrm>
          <a:off x="756263" y="952986"/>
          <a:ext cx="6267853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BBDB8A99-F4FF-4938-9BD4-B02B721A64BF}" type="parTrans" cxnId="{C3A6D027-037E-4E9C-82F0-9414335D4306}">
      <dgm:prSet/>
      <dgm:spPr/>
      <dgm:t>
        <a:bodyPr/>
        <a:lstStyle/>
        <a:p>
          <a:endParaRPr lang="en-SG"/>
        </a:p>
      </dgm:t>
    </dgm:pt>
    <dgm:pt modelId="{FFAB30D9-AB74-49C2-B6C7-48EB63FE9002}" type="sibTrans" cxnId="{C3A6D027-037E-4E9C-82F0-9414335D4306}">
      <dgm:prSet/>
      <dgm:spPr/>
      <dgm:t>
        <a:bodyPr/>
        <a:lstStyle/>
        <a:p>
          <a:endParaRPr lang="en-SG"/>
        </a:p>
      </dgm:t>
    </dgm:pt>
    <dgm:pt modelId="{A57A23F3-5064-4581-B7C3-9100A5344C33}">
      <dgm:prSet phldrT="[Text]"/>
      <dgm:spPr>
        <a:xfrm>
          <a:off x="935492" y="1667636"/>
          <a:ext cx="6088625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Solution Review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7BE3DE13-FC4C-49AE-8600-457FC42128D9}" type="parTrans" cxnId="{D7C720F2-C7CE-4B4B-9F27-8DD6838398A8}">
      <dgm:prSet/>
      <dgm:spPr/>
      <dgm:t>
        <a:bodyPr/>
        <a:lstStyle/>
        <a:p>
          <a:endParaRPr lang="en-SG"/>
        </a:p>
      </dgm:t>
    </dgm:pt>
    <dgm:pt modelId="{D18DC013-E58D-42C4-A39D-B4595195EC78}" type="sibTrans" cxnId="{D7C720F2-C7CE-4B4B-9F27-8DD6838398A8}">
      <dgm:prSet/>
      <dgm:spPr/>
      <dgm:t>
        <a:bodyPr/>
        <a:lstStyle/>
        <a:p>
          <a:endParaRPr lang="en-SG"/>
        </a:p>
      </dgm:t>
    </dgm:pt>
    <dgm:pt modelId="{DCA256DB-1B46-4A0B-9EA2-F1ED22EC2C5C}">
      <dgm:prSet phldrT="[Text]"/>
      <dgm:spPr>
        <a:xfrm>
          <a:off x="935492" y="2381833"/>
          <a:ext cx="6088625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Project Governance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79C21227-30D8-4ACB-8662-6E403F052234}" type="parTrans" cxnId="{EE81D955-3C04-4A28-8416-6427C44546FC}">
      <dgm:prSet/>
      <dgm:spPr/>
      <dgm:t>
        <a:bodyPr/>
        <a:lstStyle/>
        <a:p>
          <a:endParaRPr lang="en-SG"/>
        </a:p>
      </dgm:t>
    </dgm:pt>
    <dgm:pt modelId="{F619734E-7625-4320-BF1D-80952ED71545}" type="sibTrans" cxnId="{EE81D955-3C04-4A28-8416-6427C44546FC}">
      <dgm:prSet/>
      <dgm:spPr/>
      <dgm:t>
        <a:bodyPr/>
        <a:lstStyle/>
        <a:p>
          <a:endParaRPr lang="en-SG"/>
        </a:p>
      </dgm:t>
    </dgm:pt>
    <dgm:pt modelId="{56B8FC9C-52DF-444B-8FB3-0DCA95C6AE47}">
      <dgm:prSet phldrT="[Text]"/>
      <dgm:spPr>
        <a:xfrm>
          <a:off x="756263" y="3096482"/>
          <a:ext cx="6267853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D4BA7826-84A5-4CBF-8C42-CCFC693CE46F}" type="parTrans" cxnId="{ECEC6310-3326-4AD6-8BFA-59D618AD80FA}">
      <dgm:prSet/>
      <dgm:spPr/>
      <dgm:t>
        <a:bodyPr/>
        <a:lstStyle/>
        <a:p>
          <a:endParaRPr lang="en-US"/>
        </a:p>
      </dgm:t>
    </dgm:pt>
    <dgm:pt modelId="{DF48CE1A-3879-437D-945C-706CC1B94873}" type="sibTrans" cxnId="{ECEC6310-3326-4AD6-8BFA-59D618AD80FA}">
      <dgm:prSet/>
      <dgm:spPr/>
      <dgm:t>
        <a:bodyPr/>
        <a:lstStyle/>
        <a:p>
          <a:endParaRPr lang="en-US"/>
        </a:p>
      </dgm:t>
    </dgm:pt>
    <dgm:pt modelId="{A1195B61-F0F1-4D79-9AA3-4911A2E57CB3}" type="pres">
      <dgm:prSet presAssocID="{27FB6538-DBA1-46DD-8A79-E7ED48DEE8E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SG"/>
        </a:p>
      </dgm:t>
    </dgm:pt>
    <dgm:pt modelId="{7A7EB14D-C022-4BC5-B085-DFA634827121}" type="pres">
      <dgm:prSet presAssocID="{27FB6538-DBA1-46DD-8A79-E7ED48DEE8E4}" presName="Name1" presStyleCnt="0"/>
      <dgm:spPr/>
      <dgm:t>
        <a:bodyPr/>
        <a:lstStyle/>
        <a:p>
          <a:endParaRPr lang="en-SG"/>
        </a:p>
      </dgm:t>
    </dgm:pt>
    <dgm:pt modelId="{D8D8AD71-720B-44C1-B592-DD20D038FDF3}" type="pres">
      <dgm:prSet presAssocID="{27FB6538-DBA1-46DD-8A79-E7ED48DEE8E4}" presName="cycle" presStyleCnt="0"/>
      <dgm:spPr/>
      <dgm:t>
        <a:bodyPr/>
        <a:lstStyle/>
        <a:p>
          <a:endParaRPr lang="en-SG"/>
        </a:p>
      </dgm:t>
    </dgm:pt>
    <dgm:pt modelId="{3B02D644-EC0F-480F-9AF1-21FE9167FBF2}" type="pres">
      <dgm:prSet presAssocID="{27FB6538-DBA1-46DD-8A79-E7ED48DEE8E4}" presName="srcNode" presStyleLbl="node1" presStyleIdx="0" presStyleCnt="5"/>
      <dgm:spPr/>
      <dgm:t>
        <a:bodyPr/>
        <a:lstStyle/>
        <a:p>
          <a:endParaRPr lang="en-SG"/>
        </a:p>
      </dgm:t>
    </dgm:pt>
    <dgm:pt modelId="{F016D042-368B-49DE-8DB8-109A44D85FB8}" type="pres">
      <dgm:prSet presAssocID="{27FB6538-DBA1-46DD-8A79-E7ED48DEE8E4}" presName="conn" presStyleLbl="parChTrans1D2" presStyleIdx="0" presStyleCnt="1" custScaleX="117898"/>
      <dgm:spPr>
        <a:prstGeom prst="blockArc">
          <a:avLst>
            <a:gd name="adj1" fmla="val 18900000"/>
            <a:gd name="adj2" fmla="val 2700000"/>
            <a:gd name="adj3" fmla="val 354"/>
          </a:avLst>
        </a:prstGeom>
      </dgm:spPr>
      <dgm:t>
        <a:bodyPr/>
        <a:lstStyle/>
        <a:p>
          <a:endParaRPr lang="en-SG"/>
        </a:p>
      </dgm:t>
    </dgm:pt>
    <dgm:pt modelId="{A0636074-7534-4615-9524-F72C45A96894}" type="pres">
      <dgm:prSet presAssocID="{27FB6538-DBA1-46DD-8A79-E7ED48DEE8E4}" presName="extraNode" presStyleLbl="node1" presStyleIdx="0" presStyleCnt="5"/>
      <dgm:spPr/>
      <dgm:t>
        <a:bodyPr/>
        <a:lstStyle/>
        <a:p>
          <a:endParaRPr lang="en-SG"/>
        </a:p>
      </dgm:t>
    </dgm:pt>
    <dgm:pt modelId="{F5E095A5-5378-4BA6-B8FC-2C26CF0A0243}" type="pres">
      <dgm:prSet presAssocID="{27FB6538-DBA1-46DD-8A79-E7ED48DEE8E4}" presName="dstNode" presStyleLbl="node1" presStyleIdx="0" presStyleCnt="5"/>
      <dgm:spPr/>
      <dgm:t>
        <a:bodyPr/>
        <a:lstStyle/>
        <a:p>
          <a:endParaRPr lang="en-SG"/>
        </a:p>
      </dgm:t>
    </dgm:pt>
    <dgm:pt modelId="{761BFDF3-A7D6-4BFA-BB7C-3C6A6CF8D0C4}" type="pres">
      <dgm:prSet presAssocID="{356BADAE-71F5-429D-9E71-D7BCD2798760}" presName="text_1" presStyleLbl="node1" presStyleIdx="0" presStyleCnt="5" custScaleX="95637" custLinFactNeighborX="1976" custLinFactNeighborY="7749">
        <dgm:presLayoutVars>
          <dgm:bulletEnabled val="1"/>
        </dgm:presLayoutVars>
      </dgm:prSet>
      <dgm:spPr>
        <a:xfrm>
          <a:off x="364315" y="238337"/>
          <a:ext cx="6659801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0E497E6-A631-480C-A976-5D4906582440}" type="pres">
      <dgm:prSet presAssocID="{356BADAE-71F5-429D-9E71-D7BCD2798760}" presName="accent_1" presStyleCnt="0"/>
      <dgm:spPr/>
      <dgm:t>
        <a:bodyPr/>
        <a:lstStyle/>
        <a:p>
          <a:endParaRPr lang="en-SG"/>
        </a:p>
      </dgm:t>
    </dgm:pt>
    <dgm:pt modelId="{111D6A6A-75A1-4CC2-BC05-305810A6C53A}" type="pres">
      <dgm:prSet presAssocID="{356BADAE-71F5-429D-9E71-D7BCD2798760}" presName="accentRepeatNode" presStyleLbl="solidFgAcc1" presStyleIdx="0" presStyleCnt="5"/>
      <dgm:spPr>
        <a:xfrm>
          <a:off x="66507" y="17877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7D0B2677-CD80-4B31-BD56-8DAF5D8B611A}" type="pres">
      <dgm:prSet presAssocID="{1D92B34E-F6EA-4C5E-8ACA-7FA51DB1597A}" presName="text_2" presStyleLbl="node1" presStyleIdx="1" presStyleCnt="5">
        <dgm:presLayoutVars>
          <dgm:bulletEnabled val="1"/>
        </dgm:presLayoutVars>
      </dgm:prSet>
      <dgm:spPr>
        <a:xfrm>
          <a:off x="756263" y="952986"/>
          <a:ext cx="6267853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CA91C44-A94E-448C-9F8E-BE448D99799E}" type="pres">
      <dgm:prSet presAssocID="{1D92B34E-F6EA-4C5E-8ACA-7FA51DB1597A}" presName="accent_2" presStyleCnt="0"/>
      <dgm:spPr/>
      <dgm:t>
        <a:bodyPr/>
        <a:lstStyle/>
        <a:p>
          <a:endParaRPr lang="en-SG"/>
        </a:p>
      </dgm:t>
    </dgm:pt>
    <dgm:pt modelId="{E963B212-DC64-41B5-9D12-964D9682514A}" type="pres">
      <dgm:prSet presAssocID="{1D92B34E-F6EA-4C5E-8ACA-7FA51DB1597A}" presName="accentRepeatNode" presStyleLbl="solidFgAcc1" presStyleIdx="1" presStyleCnt="5"/>
      <dgm:spPr>
        <a:xfrm>
          <a:off x="458455" y="89342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56E52F00-BBFE-4A45-AAFE-BE259353943C}" type="pres">
      <dgm:prSet presAssocID="{A57A23F3-5064-4581-B7C3-9100A5344C33}" presName="text_3" presStyleLbl="node1" presStyleIdx="2" presStyleCnt="5" custLinFactNeighborX="1026" custLinFactNeighborY="4606">
        <dgm:presLayoutVars>
          <dgm:bulletEnabled val="1"/>
        </dgm:presLayoutVars>
      </dgm:prSet>
      <dgm:spPr>
        <a:xfrm>
          <a:off x="935492" y="1667636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4B9798B5-6BB1-4FEC-82F3-13DC6F1A928A}" type="pres">
      <dgm:prSet presAssocID="{A57A23F3-5064-4581-B7C3-9100A5344C33}" presName="accent_3" presStyleCnt="0"/>
      <dgm:spPr/>
      <dgm:t>
        <a:bodyPr/>
        <a:lstStyle/>
        <a:p>
          <a:endParaRPr lang="en-SG"/>
        </a:p>
      </dgm:t>
    </dgm:pt>
    <dgm:pt modelId="{7C738C1C-C737-407C-BD98-4A2A76335A10}" type="pres">
      <dgm:prSet presAssocID="{A57A23F3-5064-4581-B7C3-9100A5344C33}" presName="accentRepeatNode" presStyleLbl="solidFgAcc1" presStyleIdx="2" presStyleCnt="5"/>
      <dgm:spPr>
        <a:xfrm>
          <a:off x="637683" y="1608074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C3703577-6949-4DEA-86D2-7C1A5634D688}" type="pres">
      <dgm:prSet presAssocID="{DCA256DB-1B46-4A0B-9EA2-F1ED22EC2C5C}" presName="text_4" presStyleLbl="node1" presStyleIdx="3" presStyleCnt="5" custLinFactNeighborX="1026" custLinFactNeighborY="4606">
        <dgm:presLayoutVars>
          <dgm:bulletEnabled val="1"/>
        </dgm:presLayoutVars>
      </dgm:prSet>
      <dgm:spPr>
        <a:xfrm>
          <a:off x="935492" y="2381833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3004AD7A-ABCF-4D02-A175-AFE4255974D2}" type="pres">
      <dgm:prSet presAssocID="{DCA256DB-1B46-4A0B-9EA2-F1ED22EC2C5C}" presName="accent_4" presStyleCnt="0"/>
      <dgm:spPr/>
      <dgm:t>
        <a:bodyPr/>
        <a:lstStyle/>
        <a:p>
          <a:endParaRPr lang="en-SG"/>
        </a:p>
      </dgm:t>
    </dgm:pt>
    <dgm:pt modelId="{CD070EC4-0545-48CF-9D05-A2D5EB82A552}" type="pres">
      <dgm:prSet presAssocID="{DCA256DB-1B46-4A0B-9EA2-F1ED22EC2C5C}" presName="accentRepeatNode" presStyleLbl="solidFgAcc1" presStyleIdx="3" presStyleCnt="5"/>
      <dgm:spPr>
        <a:xfrm>
          <a:off x="637683" y="232227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3A29B301-0016-43D6-B2B9-9516B1112A98}" type="pres">
      <dgm:prSet presAssocID="{56B8FC9C-52DF-444B-8FB3-0DCA95C6AE47}" presName="text_5" presStyleLbl="node1" presStyleIdx="4" presStyleCnt="5" custLinFactNeighborX="997" custLinFactNeighborY="4606">
        <dgm:presLayoutVars>
          <dgm:bulletEnabled val="1"/>
        </dgm:presLayoutVars>
      </dgm:prSet>
      <dgm:spPr>
        <a:xfrm>
          <a:off x="935492" y="2381833"/>
          <a:ext cx="6088625" cy="476493"/>
        </a:xfrm>
      </dgm:spPr>
      <dgm:t>
        <a:bodyPr/>
        <a:lstStyle/>
        <a:p>
          <a:endParaRPr lang="en-US"/>
        </a:p>
      </dgm:t>
    </dgm:pt>
    <dgm:pt modelId="{DCCCB0F8-C0C5-4005-A9CC-5E93D189A98D}" type="pres">
      <dgm:prSet presAssocID="{56B8FC9C-52DF-444B-8FB3-0DCA95C6AE47}" presName="accent_5" presStyleCnt="0"/>
      <dgm:spPr/>
      <dgm:t>
        <a:bodyPr/>
        <a:lstStyle/>
        <a:p>
          <a:endParaRPr lang="en-SG"/>
        </a:p>
      </dgm:t>
    </dgm:pt>
    <dgm:pt modelId="{41A4B0ED-9887-44C5-8498-9E2FDDC9AA75}" type="pres">
      <dgm:prSet presAssocID="{56B8FC9C-52DF-444B-8FB3-0DCA95C6AE47}" presName="accentRepeatNode" presStyleLbl="solidFgAcc1" presStyleIdx="4" presStyleCnt="5"/>
      <dgm:spPr>
        <a:xfrm>
          <a:off x="458455" y="303692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SG"/>
        </a:p>
      </dgm:t>
    </dgm:pt>
  </dgm:ptLst>
  <dgm:cxnLst>
    <dgm:cxn modelId="{4C6AC615-55C2-436B-8B79-CBE0192E822E}" type="presOf" srcId="{A57A23F3-5064-4581-B7C3-9100A5344C33}" destId="{56E52F00-BBFE-4A45-AAFE-BE259353943C}" srcOrd="0" destOrd="0" presId="urn:microsoft.com/office/officeart/2008/layout/VerticalCurvedList"/>
    <dgm:cxn modelId="{8A1427A2-FF7F-4D51-BF2A-0DE33798E740}" type="presOf" srcId="{DCA256DB-1B46-4A0B-9EA2-F1ED22EC2C5C}" destId="{C3703577-6949-4DEA-86D2-7C1A5634D688}" srcOrd="0" destOrd="0" presId="urn:microsoft.com/office/officeart/2008/layout/VerticalCurvedList"/>
    <dgm:cxn modelId="{C3A6D027-037E-4E9C-82F0-9414335D4306}" srcId="{27FB6538-DBA1-46DD-8A79-E7ED48DEE8E4}" destId="{1D92B34E-F6EA-4C5E-8ACA-7FA51DB1597A}" srcOrd="1" destOrd="0" parTransId="{BBDB8A99-F4FF-4938-9BD4-B02B721A64BF}" sibTransId="{FFAB30D9-AB74-49C2-B6C7-48EB63FE9002}"/>
    <dgm:cxn modelId="{3BEC65B2-447B-4844-A691-316227E556A0}" type="presOf" srcId="{52FD0F21-3724-43A0-8B5E-6852FB0D059A}" destId="{F016D042-368B-49DE-8DB8-109A44D85FB8}" srcOrd="0" destOrd="0" presId="urn:microsoft.com/office/officeart/2008/layout/VerticalCurvedList"/>
    <dgm:cxn modelId="{4D3069E0-751A-48CF-9D58-A4F6F1D0110D}" type="presOf" srcId="{56B8FC9C-52DF-444B-8FB3-0DCA95C6AE47}" destId="{3A29B301-0016-43D6-B2B9-9516B1112A98}" srcOrd="0" destOrd="0" presId="urn:microsoft.com/office/officeart/2008/layout/VerticalCurvedList"/>
    <dgm:cxn modelId="{99AEDB80-6ED3-436D-8C64-9637AE59A17F}" srcId="{27FB6538-DBA1-46DD-8A79-E7ED48DEE8E4}" destId="{356BADAE-71F5-429D-9E71-D7BCD2798760}" srcOrd="0" destOrd="0" parTransId="{520B9485-E84F-4927-ACEB-E15602884A61}" sibTransId="{52FD0F21-3724-43A0-8B5E-6852FB0D059A}"/>
    <dgm:cxn modelId="{DAA6F686-A20E-4B72-BD43-8E785069D514}" type="presOf" srcId="{27FB6538-DBA1-46DD-8A79-E7ED48DEE8E4}" destId="{A1195B61-F0F1-4D79-9AA3-4911A2E57CB3}" srcOrd="0" destOrd="0" presId="urn:microsoft.com/office/officeart/2008/layout/VerticalCurvedList"/>
    <dgm:cxn modelId="{EE81D955-3C04-4A28-8416-6427C44546FC}" srcId="{27FB6538-DBA1-46DD-8A79-E7ED48DEE8E4}" destId="{DCA256DB-1B46-4A0B-9EA2-F1ED22EC2C5C}" srcOrd="3" destOrd="0" parTransId="{79C21227-30D8-4ACB-8662-6E403F052234}" sibTransId="{F619734E-7625-4320-BF1D-80952ED71545}"/>
    <dgm:cxn modelId="{D7C720F2-C7CE-4B4B-9F27-8DD6838398A8}" srcId="{27FB6538-DBA1-46DD-8A79-E7ED48DEE8E4}" destId="{A57A23F3-5064-4581-B7C3-9100A5344C33}" srcOrd="2" destOrd="0" parTransId="{7BE3DE13-FC4C-49AE-8600-457FC42128D9}" sibTransId="{D18DC013-E58D-42C4-A39D-B4595195EC78}"/>
    <dgm:cxn modelId="{78C624E8-B457-4D4B-AE08-CCF9B00CAE5F}" type="presOf" srcId="{356BADAE-71F5-429D-9E71-D7BCD2798760}" destId="{761BFDF3-A7D6-4BFA-BB7C-3C6A6CF8D0C4}" srcOrd="0" destOrd="0" presId="urn:microsoft.com/office/officeart/2008/layout/VerticalCurvedList"/>
    <dgm:cxn modelId="{ECEC6310-3326-4AD6-8BFA-59D618AD80FA}" srcId="{27FB6538-DBA1-46DD-8A79-E7ED48DEE8E4}" destId="{56B8FC9C-52DF-444B-8FB3-0DCA95C6AE47}" srcOrd="4" destOrd="0" parTransId="{D4BA7826-84A5-4CBF-8C42-CCFC693CE46F}" sibTransId="{DF48CE1A-3879-437D-945C-706CC1B94873}"/>
    <dgm:cxn modelId="{94866E88-D646-4D14-9735-E8903BF21E89}" type="presOf" srcId="{1D92B34E-F6EA-4C5E-8ACA-7FA51DB1597A}" destId="{7D0B2677-CD80-4B31-BD56-8DAF5D8B611A}" srcOrd="0" destOrd="0" presId="urn:microsoft.com/office/officeart/2008/layout/VerticalCurvedList"/>
    <dgm:cxn modelId="{2B60BF7D-667E-4AB1-A0F4-4F1D9635A869}" type="presParOf" srcId="{A1195B61-F0F1-4D79-9AA3-4911A2E57CB3}" destId="{7A7EB14D-C022-4BC5-B085-DFA634827121}" srcOrd="0" destOrd="0" presId="urn:microsoft.com/office/officeart/2008/layout/VerticalCurvedList"/>
    <dgm:cxn modelId="{E0DFD672-4650-4059-98CC-2F646AB81770}" type="presParOf" srcId="{7A7EB14D-C022-4BC5-B085-DFA634827121}" destId="{D8D8AD71-720B-44C1-B592-DD20D038FDF3}" srcOrd="0" destOrd="0" presId="urn:microsoft.com/office/officeart/2008/layout/VerticalCurvedList"/>
    <dgm:cxn modelId="{1A770978-19C7-4279-9509-6588CE4EE542}" type="presParOf" srcId="{D8D8AD71-720B-44C1-B592-DD20D038FDF3}" destId="{3B02D644-EC0F-480F-9AF1-21FE9167FBF2}" srcOrd="0" destOrd="0" presId="urn:microsoft.com/office/officeart/2008/layout/VerticalCurvedList"/>
    <dgm:cxn modelId="{AC813304-3BC5-45B8-8633-A40B5394DDA5}" type="presParOf" srcId="{D8D8AD71-720B-44C1-B592-DD20D038FDF3}" destId="{F016D042-368B-49DE-8DB8-109A44D85FB8}" srcOrd="1" destOrd="0" presId="urn:microsoft.com/office/officeart/2008/layout/VerticalCurvedList"/>
    <dgm:cxn modelId="{199BA977-E835-4224-A823-0EF4334DB0EC}" type="presParOf" srcId="{D8D8AD71-720B-44C1-B592-DD20D038FDF3}" destId="{A0636074-7534-4615-9524-F72C45A96894}" srcOrd="2" destOrd="0" presId="urn:microsoft.com/office/officeart/2008/layout/VerticalCurvedList"/>
    <dgm:cxn modelId="{E09D9F5A-CE47-440A-8294-6B3ABD765D5C}" type="presParOf" srcId="{D8D8AD71-720B-44C1-B592-DD20D038FDF3}" destId="{F5E095A5-5378-4BA6-B8FC-2C26CF0A0243}" srcOrd="3" destOrd="0" presId="urn:microsoft.com/office/officeart/2008/layout/VerticalCurvedList"/>
    <dgm:cxn modelId="{04E636C1-A167-421F-B900-9A93FEB746B3}" type="presParOf" srcId="{7A7EB14D-C022-4BC5-B085-DFA634827121}" destId="{761BFDF3-A7D6-4BFA-BB7C-3C6A6CF8D0C4}" srcOrd="1" destOrd="0" presId="urn:microsoft.com/office/officeart/2008/layout/VerticalCurvedList"/>
    <dgm:cxn modelId="{29180EC2-CAB3-4D5D-AA11-E459B7F1A024}" type="presParOf" srcId="{7A7EB14D-C022-4BC5-B085-DFA634827121}" destId="{D0E497E6-A631-480C-A976-5D4906582440}" srcOrd="2" destOrd="0" presId="urn:microsoft.com/office/officeart/2008/layout/VerticalCurvedList"/>
    <dgm:cxn modelId="{CFA7FABB-09F6-47EC-BA5F-3A65423D846E}" type="presParOf" srcId="{D0E497E6-A631-480C-A976-5D4906582440}" destId="{111D6A6A-75A1-4CC2-BC05-305810A6C53A}" srcOrd="0" destOrd="0" presId="urn:microsoft.com/office/officeart/2008/layout/VerticalCurvedList"/>
    <dgm:cxn modelId="{E2F1A045-9016-4E78-A854-8B19DF9DDE79}" type="presParOf" srcId="{7A7EB14D-C022-4BC5-B085-DFA634827121}" destId="{7D0B2677-CD80-4B31-BD56-8DAF5D8B611A}" srcOrd="3" destOrd="0" presId="urn:microsoft.com/office/officeart/2008/layout/VerticalCurvedList"/>
    <dgm:cxn modelId="{4AF3BA7C-E226-4FD5-9AC9-4DB3E168A547}" type="presParOf" srcId="{7A7EB14D-C022-4BC5-B085-DFA634827121}" destId="{DCA91C44-A94E-448C-9F8E-BE448D99799E}" srcOrd="4" destOrd="0" presId="urn:microsoft.com/office/officeart/2008/layout/VerticalCurvedList"/>
    <dgm:cxn modelId="{DD825062-C64C-4E5B-B49C-DC73705082D6}" type="presParOf" srcId="{DCA91C44-A94E-448C-9F8E-BE448D99799E}" destId="{E963B212-DC64-41B5-9D12-964D9682514A}" srcOrd="0" destOrd="0" presId="urn:microsoft.com/office/officeart/2008/layout/VerticalCurvedList"/>
    <dgm:cxn modelId="{B4A59FD5-46E0-434B-B081-5FAA1F6BB336}" type="presParOf" srcId="{7A7EB14D-C022-4BC5-B085-DFA634827121}" destId="{56E52F00-BBFE-4A45-AAFE-BE259353943C}" srcOrd="5" destOrd="0" presId="urn:microsoft.com/office/officeart/2008/layout/VerticalCurvedList"/>
    <dgm:cxn modelId="{25C1E466-7C68-477B-A000-343A3D8D67EB}" type="presParOf" srcId="{7A7EB14D-C022-4BC5-B085-DFA634827121}" destId="{4B9798B5-6BB1-4FEC-82F3-13DC6F1A928A}" srcOrd="6" destOrd="0" presId="urn:microsoft.com/office/officeart/2008/layout/VerticalCurvedList"/>
    <dgm:cxn modelId="{F5369E78-5657-4B71-8287-230C0E639086}" type="presParOf" srcId="{4B9798B5-6BB1-4FEC-82F3-13DC6F1A928A}" destId="{7C738C1C-C737-407C-BD98-4A2A76335A10}" srcOrd="0" destOrd="0" presId="urn:microsoft.com/office/officeart/2008/layout/VerticalCurvedList"/>
    <dgm:cxn modelId="{02723903-2D31-4CAC-BDEE-21EFFDC6C8BA}" type="presParOf" srcId="{7A7EB14D-C022-4BC5-B085-DFA634827121}" destId="{C3703577-6949-4DEA-86D2-7C1A5634D688}" srcOrd="7" destOrd="0" presId="urn:microsoft.com/office/officeart/2008/layout/VerticalCurvedList"/>
    <dgm:cxn modelId="{1E3C24D3-700B-474E-92AB-A94C945FBAA8}" type="presParOf" srcId="{7A7EB14D-C022-4BC5-B085-DFA634827121}" destId="{3004AD7A-ABCF-4D02-A175-AFE4255974D2}" srcOrd="8" destOrd="0" presId="urn:microsoft.com/office/officeart/2008/layout/VerticalCurvedList"/>
    <dgm:cxn modelId="{DDFAA18B-2123-4C9D-B6AB-BEE9894857A4}" type="presParOf" srcId="{3004AD7A-ABCF-4D02-A175-AFE4255974D2}" destId="{CD070EC4-0545-48CF-9D05-A2D5EB82A552}" srcOrd="0" destOrd="0" presId="urn:microsoft.com/office/officeart/2008/layout/VerticalCurvedList"/>
    <dgm:cxn modelId="{5955F908-1438-45FE-887D-574FF0F256F4}" type="presParOf" srcId="{7A7EB14D-C022-4BC5-B085-DFA634827121}" destId="{3A29B301-0016-43D6-B2B9-9516B1112A98}" srcOrd="9" destOrd="0" presId="urn:microsoft.com/office/officeart/2008/layout/VerticalCurvedList"/>
    <dgm:cxn modelId="{92A3A1AC-449E-4E3A-9063-30DDEEF6684A}" type="presParOf" srcId="{7A7EB14D-C022-4BC5-B085-DFA634827121}" destId="{DCCCB0F8-C0C5-4005-A9CC-5E93D189A98D}" srcOrd="10" destOrd="0" presId="urn:microsoft.com/office/officeart/2008/layout/VerticalCurvedList"/>
    <dgm:cxn modelId="{730FBE05-2B21-40F1-826D-26259F010106}" type="presParOf" srcId="{DCCCB0F8-C0C5-4005-A9CC-5E93D189A98D}" destId="{41A4B0ED-9887-44C5-8498-9E2FDDC9AA75}" srcOrd="0" destOrd="0" presId="urn:microsoft.com/office/officeart/2008/layout/VerticalCurvedList"/>
  </dgm:cxnLst>
  <dgm:bg/>
  <dgm:whole>
    <a:ln>
      <a:noFill/>
      <a:prstDash val="dashDot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7FB6538-DBA1-46DD-8A79-E7ED48DEE8E4}" type="doc">
      <dgm:prSet loTypeId="urn:microsoft.com/office/officeart/2008/layout/VerticalCurvedList" loCatId="list" qsTypeId="urn:microsoft.com/office/officeart/2005/8/quickstyle/3d3" qsCatId="3D" csTypeId="urn:microsoft.com/office/officeart/2005/8/colors/colorful1#1" csCatId="colorful" phldr="1"/>
      <dgm:spPr/>
      <dgm:t>
        <a:bodyPr/>
        <a:lstStyle/>
        <a:p>
          <a:endParaRPr lang="en-SG"/>
        </a:p>
      </dgm:t>
    </dgm:pt>
    <dgm:pt modelId="{356BADAE-71F5-429D-9E71-D7BCD2798760}">
      <dgm:prSet phldrT="[Text]"/>
      <dgm:spPr>
        <a:xfrm>
          <a:off x="641196" y="275260"/>
          <a:ext cx="6369234" cy="476493"/>
        </a:xfrm>
        <a:solidFill>
          <a:srgbClr val="A7A7A7"/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b="1" dirty="0" smtClean="0">
              <a:solidFill>
                <a:srgbClr val="B6B6B6"/>
              </a:solidFill>
              <a:latin typeface="Calibri"/>
              <a:ea typeface="+mn-ea"/>
              <a:cs typeface="+mn-cs"/>
            </a:rPr>
            <a:t>Introduction</a:t>
          </a:r>
          <a:endParaRPr lang="en-SG" b="1" dirty="0">
            <a:solidFill>
              <a:srgbClr val="B6B6B6"/>
            </a:solidFill>
            <a:latin typeface="Calibri"/>
            <a:ea typeface="+mn-ea"/>
            <a:cs typeface="+mn-cs"/>
          </a:endParaRPr>
        </a:p>
      </dgm:t>
    </dgm:pt>
    <dgm:pt modelId="{520B9485-E84F-4927-ACEB-E15602884A61}" type="parTrans" cxnId="{99AEDB80-6ED3-436D-8C64-9637AE59A17F}">
      <dgm:prSet/>
      <dgm:spPr/>
      <dgm:t>
        <a:bodyPr/>
        <a:lstStyle/>
        <a:p>
          <a:endParaRPr lang="en-SG"/>
        </a:p>
      </dgm:t>
    </dgm:pt>
    <dgm:pt modelId="{52FD0F21-3724-43A0-8B5E-6852FB0D059A}" type="sibTrans" cxnId="{99AEDB80-6ED3-436D-8C64-9637AE59A17F}">
      <dgm:prSet/>
      <dgm:spPr>
        <a:xfrm>
          <a:off x="-5662316" y="-783865"/>
          <a:ext cx="7184343" cy="6093694"/>
        </a:xfr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gm:spPr>
      <dgm:t>
        <a:bodyPr/>
        <a:lstStyle/>
        <a:p>
          <a:endParaRPr lang="en-SG" dirty="0"/>
        </a:p>
      </dgm:t>
    </dgm:pt>
    <dgm:pt modelId="{1D92B34E-F6EA-4C5E-8ACA-7FA51DB1597A}">
      <dgm:prSet phldrT="[Text]"/>
      <dgm:spPr>
        <a:xfrm>
          <a:off x="756263" y="952986"/>
          <a:ext cx="6267853" cy="476493"/>
        </a:xfrm>
        <a:solidFill>
          <a:srgbClr val="9DBE5A"/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dirty="0" smtClean="0">
              <a:solidFill>
                <a:schemeClr val="bg1"/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dirty="0">
            <a:solidFill>
              <a:schemeClr val="bg1"/>
            </a:solidFill>
            <a:latin typeface="Calibri"/>
            <a:ea typeface="+mn-ea"/>
            <a:cs typeface="+mn-cs"/>
          </a:endParaRPr>
        </a:p>
      </dgm:t>
    </dgm:pt>
    <dgm:pt modelId="{BBDB8A99-F4FF-4938-9BD4-B02B721A64BF}" type="parTrans" cxnId="{C3A6D027-037E-4E9C-82F0-9414335D4306}">
      <dgm:prSet/>
      <dgm:spPr/>
      <dgm:t>
        <a:bodyPr/>
        <a:lstStyle/>
        <a:p>
          <a:endParaRPr lang="en-SG"/>
        </a:p>
      </dgm:t>
    </dgm:pt>
    <dgm:pt modelId="{FFAB30D9-AB74-49C2-B6C7-48EB63FE9002}" type="sibTrans" cxnId="{C3A6D027-037E-4E9C-82F0-9414335D4306}">
      <dgm:prSet/>
      <dgm:spPr/>
      <dgm:t>
        <a:bodyPr/>
        <a:lstStyle/>
        <a:p>
          <a:endParaRPr lang="en-SG"/>
        </a:p>
      </dgm:t>
    </dgm:pt>
    <dgm:pt modelId="{A57A23F3-5064-4581-B7C3-9100A5344C33}">
      <dgm:prSet phldrT="[Text]"/>
      <dgm:spPr>
        <a:xfrm>
          <a:off x="935492" y="1667636"/>
          <a:ext cx="6088625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Solution Review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7BE3DE13-FC4C-49AE-8600-457FC42128D9}" type="parTrans" cxnId="{D7C720F2-C7CE-4B4B-9F27-8DD6838398A8}">
      <dgm:prSet/>
      <dgm:spPr/>
      <dgm:t>
        <a:bodyPr/>
        <a:lstStyle/>
        <a:p>
          <a:endParaRPr lang="en-SG"/>
        </a:p>
      </dgm:t>
    </dgm:pt>
    <dgm:pt modelId="{D18DC013-E58D-42C4-A39D-B4595195EC78}" type="sibTrans" cxnId="{D7C720F2-C7CE-4B4B-9F27-8DD6838398A8}">
      <dgm:prSet/>
      <dgm:spPr/>
      <dgm:t>
        <a:bodyPr/>
        <a:lstStyle/>
        <a:p>
          <a:endParaRPr lang="en-SG"/>
        </a:p>
      </dgm:t>
    </dgm:pt>
    <dgm:pt modelId="{DCA256DB-1B46-4A0B-9EA2-F1ED22EC2C5C}">
      <dgm:prSet phldrT="[Text]"/>
      <dgm:spPr>
        <a:xfrm>
          <a:off x="935492" y="2381833"/>
          <a:ext cx="6088625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Project Governance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79C21227-30D8-4ACB-8662-6E403F052234}" type="parTrans" cxnId="{EE81D955-3C04-4A28-8416-6427C44546FC}">
      <dgm:prSet/>
      <dgm:spPr/>
      <dgm:t>
        <a:bodyPr/>
        <a:lstStyle/>
        <a:p>
          <a:endParaRPr lang="en-SG"/>
        </a:p>
      </dgm:t>
    </dgm:pt>
    <dgm:pt modelId="{F619734E-7625-4320-BF1D-80952ED71545}" type="sibTrans" cxnId="{EE81D955-3C04-4A28-8416-6427C44546FC}">
      <dgm:prSet/>
      <dgm:spPr/>
      <dgm:t>
        <a:bodyPr/>
        <a:lstStyle/>
        <a:p>
          <a:endParaRPr lang="en-SG"/>
        </a:p>
      </dgm:t>
    </dgm:pt>
    <dgm:pt modelId="{56B8FC9C-52DF-444B-8FB3-0DCA95C6AE47}">
      <dgm:prSet phldrT="[Text]"/>
      <dgm:spPr>
        <a:xfrm>
          <a:off x="756263" y="3096482"/>
          <a:ext cx="6267853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D4BA7826-84A5-4CBF-8C42-CCFC693CE46F}" type="parTrans" cxnId="{ECEC6310-3326-4AD6-8BFA-59D618AD80FA}">
      <dgm:prSet/>
      <dgm:spPr/>
      <dgm:t>
        <a:bodyPr/>
        <a:lstStyle/>
        <a:p>
          <a:endParaRPr lang="en-US"/>
        </a:p>
      </dgm:t>
    </dgm:pt>
    <dgm:pt modelId="{DF48CE1A-3879-437D-945C-706CC1B94873}" type="sibTrans" cxnId="{ECEC6310-3326-4AD6-8BFA-59D618AD80FA}">
      <dgm:prSet/>
      <dgm:spPr/>
      <dgm:t>
        <a:bodyPr/>
        <a:lstStyle/>
        <a:p>
          <a:endParaRPr lang="en-US"/>
        </a:p>
      </dgm:t>
    </dgm:pt>
    <dgm:pt modelId="{A1195B61-F0F1-4D79-9AA3-4911A2E57CB3}" type="pres">
      <dgm:prSet presAssocID="{27FB6538-DBA1-46DD-8A79-E7ED48DEE8E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SG"/>
        </a:p>
      </dgm:t>
    </dgm:pt>
    <dgm:pt modelId="{7A7EB14D-C022-4BC5-B085-DFA634827121}" type="pres">
      <dgm:prSet presAssocID="{27FB6538-DBA1-46DD-8A79-E7ED48DEE8E4}" presName="Name1" presStyleCnt="0"/>
      <dgm:spPr/>
      <dgm:t>
        <a:bodyPr/>
        <a:lstStyle/>
        <a:p>
          <a:endParaRPr lang="en-SG"/>
        </a:p>
      </dgm:t>
    </dgm:pt>
    <dgm:pt modelId="{D8D8AD71-720B-44C1-B592-DD20D038FDF3}" type="pres">
      <dgm:prSet presAssocID="{27FB6538-DBA1-46DD-8A79-E7ED48DEE8E4}" presName="cycle" presStyleCnt="0"/>
      <dgm:spPr/>
      <dgm:t>
        <a:bodyPr/>
        <a:lstStyle/>
        <a:p>
          <a:endParaRPr lang="en-SG"/>
        </a:p>
      </dgm:t>
    </dgm:pt>
    <dgm:pt modelId="{3B02D644-EC0F-480F-9AF1-21FE9167FBF2}" type="pres">
      <dgm:prSet presAssocID="{27FB6538-DBA1-46DD-8A79-E7ED48DEE8E4}" presName="srcNode" presStyleLbl="node1" presStyleIdx="0" presStyleCnt="5"/>
      <dgm:spPr/>
      <dgm:t>
        <a:bodyPr/>
        <a:lstStyle/>
        <a:p>
          <a:endParaRPr lang="en-SG"/>
        </a:p>
      </dgm:t>
    </dgm:pt>
    <dgm:pt modelId="{F016D042-368B-49DE-8DB8-109A44D85FB8}" type="pres">
      <dgm:prSet presAssocID="{27FB6538-DBA1-46DD-8A79-E7ED48DEE8E4}" presName="conn" presStyleLbl="parChTrans1D2" presStyleIdx="0" presStyleCnt="1" custScaleX="117898"/>
      <dgm:spPr>
        <a:prstGeom prst="blockArc">
          <a:avLst>
            <a:gd name="adj1" fmla="val 18900000"/>
            <a:gd name="adj2" fmla="val 2700000"/>
            <a:gd name="adj3" fmla="val 354"/>
          </a:avLst>
        </a:prstGeom>
      </dgm:spPr>
      <dgm:t>
        <a:bodyPr/>
        <a:lstStyle/>
        <a:p>
          <a:endParaRPr lang="en-SG"/>
        </a:p>
      </dgm:t>
    </dgm:pt>
    <dgm:pt modelId="{A0636074-7534-4615-9524-F72C45A96894}" type="pres">
      <dgm:prSet presAssocID="{27FB6538-DBA1-46DD-8A79-E7ED48DEE8E4}" presName="extraNode" presStyleLbl="node1" presStyleIdx="0" presStyleCnt="5"/>
      <dgm:spPr/>
      <dgm:t>
        <a:bodyPr/>
        <a:lstStyle/>
        <a:p>
          <a:endParaRPr lang="en-SG"/>
        </a:p>
      </dgm:t>
    </dgm:pt>
    <dgm:pt modelId="{F5E095A5-5378-4BA6-B8FC-2C26CF0A0243}" type="pres">
      <dgm:prSet presAssocID="{27FB6538-DBA1-46DD-8A79-E7ED48DEE8E4}" presName="dstNode" presStyleLbl="node1" presStyleIdx="0" presStyleCnt="5"/>
      <dgm:spPr/>
      <dgm:t>
        <a:bodyPr/>
        <a:lstStyle/>
        <a:p>
          <a:endParaRPr lang="en-SG"/>
        </a:p>
      </dgm:t>
    </dgm:pt>
    <dgm:pt modelId="{761BFDF3-A7D6-4BFA-BB7C-3C6A6CF8D0C4}" type="pres">
      <dgm:prSet presAssocID="{356BADAE-71F5-429D-9E71-D7BCD2798760}" presName="text_1" presStyleLbl="node1" presStyleIdx="0" presStyleCnt="5" custScaleX="95637" custLinFactNeighborX="1976" custLinFactNeighborY="7749">
        <dgm:presLayoutVars>
          <dgm:bulletEnabled val="1"/>
        </dgm:presLayoutVars>
      </dgm:prSet>
      <dgm:spPr>
        <a:xfrm>
          <a:off x="364315" y="238337"/>
          <a:ext cx="6659801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0E497E6-A631-480C-A976-5D4906582440}" type="pres">
      <dgm:prSet presAssocID="{356BADAE-71F5-429D-9E71-D7BCD2798760}" presName="accent_1" presStyleCnt="0"/>
      <dgm:spPr/>
      <dgm:t>
        <a:bodyPr/>
        <a:lstStyle/>
        <a:p>
          <a:endParaRPr lang="en-SG"/>
        </a:p>
      </dgm:t>
    </dgm:pt>
    <dgm:pt modelId="{111D6A6A-75A1-4CC2-BC05-305810A6C53A}" type="pres">
      <dgm:prSet presAssocID="{356BADAE-71F5-429D-9E71-D7BCD2798760}" presName="accentRepeatNode" presStyleLbl="solidFgAcc1" presStyleIdx="0" presStyleCnt="5"/>
      <dgm:spPr>
        <a:xfrm>
          <a:off x="66507" y="17877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7D0B2677-CD80-4B31-BD56-8DAF5D8B611A}" type="pres">
      <dgm:prSet presAssocID="{1D92B34E-F6EA-4C5E-8ACA-7FA51DB1597A}" presName="text_2" presStyleLbl="node1" presStyleIdx="1" presStyleCnt="5">
        <dgm:presLayoutVars>
          <dgm:bulletEnabled val="1"/>
        </dgm:presLayoutVars>
      </dgm:prSet>
      <dgm:spPr>
        <a:xfrm>
          <a:off x="756263" y="952986"/>
          <a:ext cx="6267853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CA91C44-A94E-448C-9F8E-BE448D99799E}" type="pres">
      <dgm:prSet presAssocID="{1D92B34E-F6EA-4C5E-8ACA-7FA51DB1597A}" presName="accent_2" presStyleCnt="0"/>
      <dgm:spPr/>
      <dgm:t>
        <a:bodyPr/>
        <a:lstStyle/>
        <a:p>
          <a:endParaRPr lang="en-SG"/>
        </a:p>
      </dgm:t>
    </dgm:pt>
    <dgm:pt modelId="{E963B212-DC64-41B5-9D12-964D9682514A}" type="pres">
      <dgm:prSet presAssocID="{1D92B34E-F6EA-4C5E-8ACA-7FA51DB1597A}" presName="accentRepeatNode" presStyleLbl="solidFgAcc1" presStyleIdx="1" presStyleCnt="5"/>
      <dgm:spPr>
        <a:xfrm>
          <a:off x="458455" y="89342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56E52F00-BBFE-4A45-AAFE-BE259353943C}" type="pres">
      <dgm:prSet presAssocID="{A57A23F3-5064-4581-B7C3-9100A5344C33}" presName="text_3" presStyleLbl="node1" presStyleIdx="2" presStyleCnt="5" custLinFactNeighborX="1026" custLinFactNeighborY="4606">
        <dgm:presLayoutVars>
          <dgm:bulletEnabled val="1"/>
        </dgm:presLayoutVars>
      </dgm:prSet>
      <dgm:spPr>
        <a:xfrm>
          <a:off x="935492" y="1667636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4B9798B5-6BB1-4FEC-82F3-13DC6F1A928A}" type="pres">
      <dgm:prSet presAssocID="{A57A23F3-5064-4581-B7C3-9100A5344C33}" presName="accent_3" presStyleCnt="0"/>
      <dgm:spPr/>
      <dgm:t>
        <a:bodyPr/>
        <a:lstStyle/>
        <a:p>
          <a:endParaRPr lang="en-SG"/>
        </a:p>
      </dgm:t>
    </dgm:pt>
    <dgm:pt modelId="{7C738C1C-C737-407C-BD98-4A2A76335A10}" type="pres">
      <dgm:prSet presAssocID="{A57A23F3-5064-4581-B7C3-9100A5344C33}" presName="accentRepeatNode" presStyleLbl="solidFgAcc1" presStyleIdx="2" presStyleCnt="5"/>
      <dgm:spPr>
        <a:xfrm>
          <a:off x="637683" y="1608074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C3703577-6949-4DEA-86D2-7C1A5634D688}" type="pres">
      <dgm:prSet presAssocID="{DCA256DB-1B46-4A0B-9EA2-F1ED22EC2C5C}" presName="text_4" presStyleLbl="node1" presStyleIdx="3" presStyleCnt="5" custLinFactNeighborX="1026" custLinFactNeighborY="4606">
        <dgm:presLayoutVars>
          <dgm:bulletEnabled val="1"/>
        </dgm:presLayoutVars>
      </dgm:prSet>
      <dgm:spPr>
        <a:xfrm>
          <a:off x="935492" y="2381833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3004AD7A-ABCF-4D02-A175-AFE4255974D2}" type="pres">
      <dgm:prSet presAssocID="{DCA256DB-1B46-4A0B-9EA2-F1ED22EC2C5C}" presName="accent_4" presStyleCnt="0"/>
      <dgm:spPr/>
      <dgm:t>
        <a:bodyPr/>
        <a:lstStyle/>
        <a:p>
          <a:endParaRPr lang="en-SG"/>
        </a:p>
      </dgm:t>
    </dgm:pt>
    <dgm:pt modelId="{CD070EC4-0545-48CF-9D05-A2D5EB82A552}" type="pres">
      <dgm:prSet presAssocID="{DCA256DB-1B46-4A0B-9EA2-F1ED22EC2C5C}" presName="accentRepeatNode" presStyleLbl="solidFgAcc1" presStyleIdx="3" presStyleCnt="5"/>
      <dgm:spPr>
        <a:xfrm>
          <a:off x="637683" y="232227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3A29B301-0016-43D6-B2B9-9516B1112A98}" type="pres">
      <dgm:prSet presAssocID="{56B8FC9C-52DF-444B-8FB3-0DCA95C6AE47}" presName="text_5" presStyleLbl="node1" presStyleIdx="4" presStyleCnt="5" custLinFactNeighborX="997" custLinFactNeighborY="4606">
        <dgm:presLayoutVars>
          <dgm:bulletEnabled val="1"/>
        </dgm:presLayoutVars>
      </dgm:prSet>
      <dgm:spPr>
        <a:xfrm>
          <a:off x="935492" y="2381833"/>
          <a:ext cx="6088625" cy="476493"/>
        </a:xfrm>
      </dgm:spPr>
      <dgm:t>
        <a:bodyPr/>
        <a:lstStyle/>
        <a:p>
          <a:endParaRPr lang="en-US"/>
        </a:p>
      </dgm:t>
    </dgm:pt>
    <dgm:pt modelId="{DCCCB0F8-C0C5-4005-A9CC-5E93D189A98D}" type="pres">
      <dgm:prSet presAssocID="{56B8FC9C-52DF-444B-8FB3-0DCA95C6AE47}" presName="accent_5" presStyleCnt="0"/>
      <dgm:spPr/>
      <dgm:t>
        <a:bodyPr/>
        <a:lstStyle/>
        <a:p>
          <a:endParaRPr lang="en-SG"/>
        </a:p>
      </dgm:t>
    </dgm:pt>
    <dgm:pt modelId="{41A4B0ED-9887-44C5-8498-9E2FDDC9AA75}" type="pres">
      <dgm:prSet presAssocID="{56B8FC9C-52DF-444B-8FB3-0DCA95C6AE47}" presName="accentRepeatNode" presStyleLbl="solidFgAcc1" presStyleIdx="4" presStyleCnt="5"/>
      <dgm:spPr>
        <a:xfrm>
          <a:off x="458455" y="303692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SG"/>
        </a:p>
      </dgm:t>
    </dgm:pt>
  </dgm:ptLst>
  <dgm:cxnLst>
    <dgm:cxn modelId="{4ABD1FCD-2486-4585-9330-C5A9A0364485}" type="presOf" srcId="{DCA256DB-1B46-4A0B-9EA2-F1ED22EC2C5C}" destId="{C3703577-6949-4DEA-86D2-7C1A5634D688}" srcOrd="0" destOrd="0" presId="urn:microsoft.com/office/officeart/2008/layout/VerticalCurvedList"/>
    <dgm:cxn modelId="{E6B4F8FE-746A-4727-9FA4-825926196E94}" type="presOf" srcId="{A57A23F3-5064-4581-B7C3-9100A5344C33}" destId="{56E52F00-BBFE-4A45-AAFE-BE259353943C}" srcOrd="0" destOrd="0" presId="urn:microsoft.com/office/officeart/2008/layout/VerticalCurvedList"/>
    <dgm:cxn modelId="{C3A6D027-037E-4E9C-82F0-9414335D4306}" srcId="{27FB6538-DBA1-46DD-8A79-E7ED48DEE8E4}" destId="{1D92B34E-F6EA-4C5E-8ACA-7FA51DB1597A}" srcOrd="1" destOrd="0" parTransId="{BBDB8A99-F4FF-4938-9BD4-B02B721A64BF}" sibTransId="{FFAB30D9-AB74-49C2-B6C7-48EB63FE9002}"/>
    <dgm:cxn modelId="{CEC70F81-6707-483C-A813-BDC22B42252D}" type="presOf" srcId="{1D92B34E-F6EA-4C5E-8ACA-7FA51DB1597A}" destId="{7D0B2677-CD80-4B31-BD56-8DAF5D8B611A}" srcOrd="0" destOrd="0" presId="urn:microsoft.com/office/officeart/2008/layout/VerticalCurvedList"/>
    <dgm:cxn modelId="{99AEDB80-6ED3-436D-8C64-9637AE59A17F}" srcId="{27FB6538-DBA1-46DD-8A79-E7ED48DEE8E4}" destId="{356BADAE-71F5-429D-9E71-D7BCD2798760}" srcOrd="0" destOrd="0" parTransId="{520B9485-E84F-4927-ACEB-E15602884A61}" sibTransId="{52FD0F21-3724-43A0-8B5E-6852FB0D059A}"/>
    <dgm:cxn modelId="{EE81D955-3C04-4A28-8416-6427C44546FC}" srcId="{27FB6538-DBA1-46DD-8A79-E7ED48DEE8E4}" destId="{DCA256DB-1B46-4A0B-9EA2-F1ED22EC2C5C}" srcOrd="3" destOrd="0" parTransId="{79C21227-30D8-4ACB-8662-6E403F052234}" sibTransId="{F619734E-7625-4320-BF1D-80952ED71545}"/>
    <dgm:cxn modelId="{17F0AA96-38BC-40EE-A7FC-247F72CF0BAC}" type="presOf" srcId="{52FD0F21-3724-43A0-8B5E-6852FB0D059A}" destId="{F016D042-368B-49DE-8DB8-109A44D85FB8}" srcOrd="0" destOrd="0" presId="urn:microsoft.com/office/officeart/2008/layout/VerticalCurvedList"/>
    <dgm:cxn modelId="{D7C720F2-C7CE-4B4B-9F27-8DD6838398A8}" srcId="{27FB6538-DBA1-46DD-8A79-E7ED48DEE8E4}" destId="{A57A23F3-5064-4581-B7C3-9100A5344C33}" srcOrd="2" destOrd="0" parTransId="{7BE3DE13-FC4C-49AE-8600-457FC42128D9}" sibTransId="{D18DC013-E58D-42C4-A39D-B4595195EC78}"/>
    <dgm:cxn modelId="{04032BDE-132F-43D1-987D-8331F65FAD38}" type="presOf" srcId="{356BADAE-71F5-429D-9E71-D7BCD2798760}" destId="{761BFDF3-A7D6-4BFA-BB7C-3C6A6CF8D0C4}" srcOrd="0" destOrd="0" presId="urn:microsoft.com/office/officeart/2008/layout/VerticalCurvedList"/>
    <dgm:cxn modelId="{D07F33AD-EA12-47FD-BDBB-9CE49630CFF6}" type="presOf" srcId="{27FB6538-DBA1-46DD-8A79-E7ED48DEE8E4}" destId="{A1195B61-F0F1-4D79-9AA3-4911A2E57CB3}" srcOrd="0" destOrd="0" presId="urn:microsoft.com/office/officeart/2008/layout/VerticalCurvedList"/>
    <dgm:cxn modelId="{6058FDB6-F9E6-478D-A60B-CF4D6693C273}" type="presOf" srcId="{56B8FC9C-52DF-444B-8FB3-0DCA95C6AE47}" destId="{3A29B301-0016-43D6-B2B9-9516B1112A98}" srcOrd="0" destOrd="0" presId="urn:microsoft.com/office/officeart/2008/layout/VerticalCurvedList"/>
    <dgm:cxn modelId="{ECEC6310-3326-4AD6-8BFA-59D618AD80FA}" srcId="{27FB6538-DBA1-46DD-8A79-E7ED48DEE8E4}" destId="{56B8FC9C-52DF-444B-8FB3-0DCA95C6AE47}" srcOrd="4" destOrd="0" parTransId="{D4BA7826-84A5-4CBF-8C42-CCFC693CE46F}" sibTransId="{DF48CE1A-3879-437D-945C-706CC1B94873}"/>
    <dgm:cxn modelId="{0D36281E-767F-46E7-B8E2-94E44E1111D5}" type="presParOf" srcId="{A1195B61-F0F1-4D79-9AA3-4911A2E57CB3}" destId="{7A7EB14D-C022-4BC5-B085-DFA634827121}" srcOrd="0" destOrd="0" presId="urn:microsoft.com/office/officeart/2008/layout/VerticalCurvedList"/>
    <dgm:cxn modelId="{C24365C0-32A0-4D9B-A3C5-D41C8ECF665B}" type="presParOf" srcId="{7A7EB14D-C022-4BC5-B085-DFA634827121}" destId="{D8D8AD71-720B-44C1-B592-DD20D038FDF3}" srcOrd="0" destOrd="0" presId="urn:microsoft.com/office/officeart/2008/layout/VerticalCurvedList"/>
    <dgm:cxn modelId="{FCDE8233-29BE-4E36-9D7E-362D5EFDEE67}" type="presParOf" srcId="{D8D8AD71-720B-44C1-B592-DD20D038FDF3}" destId="{3B02D644-EC0F-480F-9AF1-21FE9167FBF2}" srcOrd="0" destOrd="0" presId="urn:microsoft.com/office/officeart/2008/layout/VerticalCurvedList"/>
    <dgm:cxn modelId="{A3F41305-0F6F-4A63-85A5-2F7AFC8250CE}" type="presParOf" srcId="{D8D8AD71-720B-44C1-B592-DD20D038FDF3}" destId="{F016D042-368B-49DE-8DB8-109A44D85FB8}" srcOrd="1" destOrd="0" presId="urn:microsoft.com/office/officeart/2008/layout/VerticalCurvedList"/>
    <dgm:cxn modelId="{996CEA83-1295-491C-84C1-691F1DF30325}" type="presParOf" srcId="{D8D8AD71-720B-44C1-B592-DD20D038FDF3}" destId="{A0636074-7534-4615-9524-F72C45A96894}" srcOrd="2" destOrd="0" presId="urn:microsoft.com/office/officeart/2008/layout/VerticalCurvedList"/>
    <dgm:cxn modelId="{A4808FEC-F555-4FAC-B117-DC4DFB7FB028}" type="presParOf" srcId="{D8D8AD71-720B-44C1-B592-DD20D038FDF3}" destId="{F5E095A5-5378-4BA6-B8FC-2C26CF0A0243}" srcOrd="3" destOrd="0" presId="urn:microsoft.com/office/officeart/2008/layout/VerticalCurvedList"/>
    <dgm:cxn modelId="{0C8C1083-967A-4A19-A9C3-C19DD123F050}" type="presParOf" srcId="{7A7EB14D-C022-4BC5-B085-DFA634827121}" destId="{761BFDF3-A7D6-4BFA-BB7C-3C6A6CF8D0C4}" srcOrd="1" destOrd="0" presId="urn:microsoft.com/office/officeart/2008/layout/VerticalCurvedList"/>
    <dgm:cxn modelId="{5F1F3F41-3352-4680-AF1D-F3DE9046096C}" type="presParOf" srcId="{7A7EB14D-C022-4BC5-B085-DFA634827121}" destId="{D0E497E6-A631-480C-A976-5D4906582440}" srcOrd="2" destOrd="0" presId="urn:microsoft.com/office/officeart/2008/layout/VerticalCurvedList"/>
    <dgm:cxn modelId="{8EC907A8-3C76-42BE-987F-5826CA4E09F3}" type="presParOf" srcId="{D0E497E6-A631-480C-A976-5D4906582440}" destId="{111D6A6A-75A1-4CC2-BC05-305810A6C53A}" srcOrd="0" destOrd="0" presId="urn:microsoft.com/office/officeart/2008/layout/VerticalCurvedList"/>
    <dgm:cxn modelId="{7D0EA7E6-202E-4D1B-B9E6-B1399697068D}" type="presParOf" srcId="{7A7EB14D-C022-4BC5-B085-DFA634827121}" destId="{7D0B2677-CD80-4B31-BD56-8DAF5D8B611A}" srcOrd="3" destOrd="0" presId="urn:microsoft.com/office/officeart/2008/layout/VerticalCurvedList"/>
    <dgm:cxn modelId="{0F7B0BC7-2B99-44BA-A8BA-86134C15502B}" type="presParOf" srcId="{7A7EB14D-C022-4BC5-B085-DFA634827121}" destId="{DCA91C44-A94E-448C-9F8E-BE448D99799E}" srcOrd="4" destOrd="0" presId="urn:microsoft.com/office/officeart/2008/layout/VerticalCurvedList"/>
    <dgm:cxn modelId="{563C55D1-23B4-47AA-BA62-B168D22886E8}" type="presParOf" srcId="{DCA91C44-A94E-448C-9F8E-BE448D99799E}" destId="{E963B212-DC64-41B5-9D12-964D9682514A}" srcOrd="0" destOrd="0" presId="urn:microsoft.com/office/officeart/2008/layout/VerticalCurvedList"/>
    <dgm:cxn modelId="{5FE3DA1B-9FB7-4EF1-AA94-5ECDCCCF6D70}" type="presParOf" srcId="{7A7EB14D-C022-4BC5-B085-DFA634827121}" destId="{56E52F00-BBFE-4A45-AAFE-BE259353943C}" srcOrd="5" destOrd="0" presId="urn:microsoft.com/office/officeart/2008/layout/VerticalCurvedList"/>
    <dgm:cxn modelId="{F115166B-85DB-4B58-9992-FD695EF61039}" type="presParOf" srcId="{7A7EB14D-C022-4BC5-B085-DFA634827121}" destId="{4B9798B5-6BB1-4FEC-82F3-13DC6F1A928A}" srcOrd="6" destOrd="0" presId="urn:microsoft.com/office/officeart/2008/layout/VerticalCurvedList"/>
    <dgm:cxn modelId="{ED2F6193-F004-47D6-BECD-72A6FA8B257B}" type="presParOf" srcId="{4B9798B5-6BB1-4FEC-82F3-13DC6F1A928A}" destId="{7C738C1C-C737-407C-BD98-4A2A76335A10}" srcOrd="0" destOrd="0" presId="urn:microsoft.com/office/officeart/2008/layout/VerticalCurvedList"/>
    <dgm:cxn modelId="{132BCA82-87D3-4019-ABC3-19F997F0F5A1}" type="presParOf" srcId="{7A7EB14D-C022-4BC5-B085-DFA634827121}" destId="{C3703577-6949-4DEA-86D2-7C1A5634D688}" srcOrd="7" destOrd="0" presId="urn:microsoft.com/office/officeart/2008/layout/VerticalCurvedList"/>
    <dgm:cxn modelId="{5F271AC9-30F4-4B8D-AFCF-4699ACA65EED}" type="presParOf" srcId="{7A7EB14D-C022-4BC5-B085-DFA634827121}" destId="{3004AD7A-ABCF-4D02-A175-AFE4255974D2}" srcOrd="8" destOrd="0" presId="urn:microsoft.com/office/officeart/2008/layout/VerticalCurvedList"/>
    <dgm:cxn modelId="{7B528D23-2A6B-4C48-9909-A2B972A12B4B}" type="presParOf" srcId="{3004AD7A-ABCF-4D02-A175-AFE4255974D2}" destId="{CD070EC4-0545-48CF-9D05-A2D5EB82A552}" srcOrd="0" destOrd="0" presId="urn:microsoft.com/office/officeart/2008/layout/VerticalCurvedList"/>
    <dgm:cxn modelId="{EFE49B44-BA43-4E06-8E05-3DC42F602AEF}" type="presParOf" srcId="{7A7EB14D-C022-4BC5-B085-DFA634827121}" destId="{3A29B301-0016-43D6-B2B9-9516B1112A98}" srcOrd="9" destOrd="0" presId="urn:microsoft.com/office/officeart/2008/layout/VerticalCurvedList"/>
    <dgm:cxn modelId="{E5DEBD84-B2DC-44F6-A722-A462FB1F74D8}" type="presParOf" srcId="{7A7EB14D-C022-4BC5-B085-DFA634827121}" destId="{DCCCB0F8-C0C5-4005-A9CC-5E93D189A98D}" srcOrd="10" destOrd="0" presId="urn:microsoft.com/office/officeart/2008/layout/VerticalCurvedList"/>
    <dgm:cxn modelId="{9410B0E3-69C1-4D9F-9F83-673C79815052}" type="presParOf" srcId="{DCCCB0F8-C0C5-4005-A9CC-5E93D189A98D}" destId="{41A4B0ED-9887-44C5-8498-9E2FDDC9AA75}" srcOrd="0" destOrd="0" presId="urn:microsoft.com/office/officeart/2008/layout/VerticalCurvedList"/>
  </dgm:cxnLst>
  <dgm:bg/>
  <dgm:whole>
    <a:ln>
      <a:noFill/>
      <a:prstDash val="dashDot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7FB6538-DBA1-46DD-8A79-E7ED48DEE8E4}" type="doc">
      <dgm:prSet loTypeId="urn:microsoft.com/office/officeart/2008/layout/VerticalCurvedList" loCatId="list" qsTypeId="urn:microsoft.com/office/officeart/2005/8/quickstyle/3d3" qsCatId="3D" csTypeId="urn:microsoft.com/office/officeart/2005/8/colors/colorful1#1" csCatId="colorful" phldr="1"/>
      <dgm:spPr/>
      <dgm:t>
        <a:bodyPr/>
        <a:lstStyle/>
        <a:p>
          <a:endParaRPr lang="en-SG"/>
        </a:p>
      </dgm:t>
    </dgm:pt>
    <dgm:pt modelId="{356BADAE-71F5-429D-9E71-D7BCD2798760}">
      <dgm:prSet phldrT="[Text]"/>
      <dgm:spPr>
        <a:xfrm>
          <a:off x="641196" y="275260"/>
          <a:ext cx="6369234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Introduction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520B9485-E84F-4927-ACEB-E15602884A61}" type="parTrans" cxnId="{99AEDB80-6ED3-436D-8C64-9637AE59A17F}">
      <dgm:prSet/>
      <dgm:spPr/>
      <dgm:t>
        <a:bodyPr/>
        <a:lstStyle/>
        <a:p>
          <a:endParaRPr lang="en-SG"/>
        </a:p>
      </dgm:t>
    </dgm:pt>
    <dgm:pt modelId="{52FD0F21-3724-43A0-8B5E-6852FB0D059A}" type="sibTrans" cxnId="{99AEDB80-6ED3-436D-8C64-9637AE59A17F}">
      <dgm:prSet/>
      <dgm:spPr>
        <a:xfrm>
          <a:off x="-5662316" y="-783865"/>
          <a:ext cx="7184343" cy="6093694"/>
        </a:xfr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gm:spPr>
      <dgm:t>
        <a:bodyPr/>
        <a:lstStyle/>
        <a:p>
          <a:endParaRPr lang="en-SG" dirty="0"/>
        </a:p>
      </dgm:t>
    </dgm:pt>
    <dgm:pt modelId="{1D92B34E-F6EA-4C5E-8ACA-7FA51DB1597A}">
      <dgm:prSet phldrT="[Text]"/>
      <dgm:spPr>
        <a:xfrm>
          <a:off x="756263" y="952986"/>
          <a:ext cx="6267853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BBDB8A99-F4FF-4938-9BD4-B02B721A64BF}" type="parTrans" cxnId="{C3A6D027-037E-4E9C-82F0-9414335D4306}">
      <dgm:prSet/>
      <dgm:spPr/>
      <dgm:t>
        <a:bodyPr/>
        <a:lstStyle/>
        <a:p>
          <a:endParaRPr lang="en-SG"/>
        </a:p>
      </dgm:t>
    </dgm:pt>
    <dgm:pt modelId="{FFAB30D9-AB74-49C2-B6C7-48EB63FE9002}" type="sibTrans" cxnId="{C3A6D027-037E-4E9C-82F0-9414335D4306}">
      <dgm:prSet/>
      <dgm:spPr/>
      <dgm:t>
        <a:bodyPr/>
        <a:lstStyle/>
        <a:p>
          <a:endParaRPr lang="en-SG"/>
        </a:p>
      </dgm:t>
    </dgm:pt>
    <dgm:pt modelId="{A57A23F3-5064-4581-B7C3-9100A5344C33}">
      <dgm:prSet phldrT="[Text]"/>
      <dgm:spPr>
        <a:xfrm>
          <a:off x="935492" y="1667636"/>
          <a:ext cx="6088625" cy="476493"/>
        </a:xfrm>
        <a:solidFill>
          <a:srgbClr val="8064A2"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Solution Review</a:t>
          </a:r>
          <a:endParaRPr lang="en-SG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7BE3DE13-FC4C-49AE-8600-457FC42128D9}" type="parTrans" cxnId="{D7C720F2-C7CE-4B4B-9F27-8DD6838398A8}">
      <dgm:prSet/>
      <dgm:spPr/>
      <dgm:t>
        <a:bodyPr/>
        <a:lstStyle/>
        <a:p>
          <a:endParaRPr lang="en-SG"/>
        </a:p>
      </dgm:t>
    </dgm:pt>
    <dgm:pt modelId="{D18DC013-E58D-42C4-A39D-B4595195EC78}" type="sibTrans" cxnId="{D7C720F2-C7CE-4B4B-9F27-8DD6838398A8}">
      <dgm:prSet/>
      <dgm:spPr/>
      <dgm:t>
        <a:bodyPr/>
        <a:lstStyle/>
        <a:p>
          <a:endParaRPr lang="en-SG"/>
        </a:p>
      </dgm:t>
    </dgm:pt>
    <dgm:pt modelId="{DCA256DB-1B46-4A0B-9EA2-F1ED22EC2C5C}">
      <dgm:prSet phldrT="[Text]"/>
      <dgm:spPr>
        <a:xfrm>
          <a:off x="935492" y="2381833"/>
          <a:ext cx="6088625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Project Governance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79C21227-30D8-4ACB-8662-6E403F052234}" type="parTrans" cxnId="{EE81D955-3C04-4A28-8416-6427C44546FC}">
      <dgm:prSet/>
      <dgm:spPr/>
      <dgm:t>
        <a:bodyPr/>
        <a:lstStyle/>
        <a:p>
          <a:endParaRPr lang="en-SG"/>
        </a:p>
      </dgm:t>
    </dgm:pt>
    <dgm:pt modelId="{F619734E-7625-4320-BF1D-80952ED71545}" type="sibTrans" cxnId="{EE81D955-3C04-4A28-8416-6427C44546FC}">
      <dgm:prSet/>
      <dgm:spPr/>
      <dgm:t>
        <a:bodyPr/>
        <a:lstStyle/>
        <a:p>
          <a:endParaRPr lang="en-SG"/>
        </a:p>
      </dgm:t>
    </dgm:pt>
    <dgm:pt modelId="{56B8FC9C-52DF-444B-8FB3-0DCA95C6AE47}">
      <dgm:prSet phldrT="[Text]"/>
      <dgm:spPr>
        <a:xfrm>
          <a:off x="756263" y="3096482"/>
          <a:ext cx="6267853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D4BA7826-84A5-4CBF-8C42-CCFC693CE46F}" type="parTrans" cxnId="{ECEC6310-3326-4AD6-8BFA-59D618AD80FA}">
      <dgm:prSet/>
      <dgm:spPr/>
      <dgm:t>
        <a:bodyPr/>
        <a:lstStyle/>
        <a:p>
          <a:endParaRPr lang="en-US"/>
        </a:p>
      </dgm:t>
    </dgm:pt>
    <dgm:pt modelId="{DF48CE1A-3879-437D-945C-706CC1B94873}" type="sibTrans" cxnId="{ECEC6310-3326-4AD6-8BFA-59D618AD80FA}">
      <dgm:prSet/>
      <dgm:spPr/>
      <dgm:t>
        <a:bodyPr/>
        <a:lstStyle/>
        <a:p>
          <a:endParaRPr lang="en-US"/>
        </a:p>
      </dgm:t>
    </dgm:pt>
    <dgm:pt modelId="{A1195B61-F0F1-4D79-9AA3-4911A2E57CB3}" type="pres">
      <dgm:prSet presAssocID="{27FB6538-DBA1-46DD-8A79-E7ED48DEE8E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SG"/>
        </a:p>
      </dgm:t>
    </dgm:pt>
    <dgm:pt modelId="{7A7EB14D-C022-4BC5-B085-DFA634827121}" type="pres">
      <dgm:prSet presAssocID="{27FB6538-DBA1-46DD-8A79-E7ED48DEE8E4}" presName="Name1" presStyleCnt="0"/>
      <dgm:spPr/>
      <dgm:t>
        <a:bodyPr/>
        <a:lstStyle/>
        <a:p>
          <a:endParaRPr lang="en-SG"/>
        </a:p>
      </dgm:t>
    </dgm:pt>
    <dgm:pt modelId="{D8D8AD71-720B-44C1-B592-DD20D038FDF3}" type="pres">
      <dgm:prSet presAssocID="{27FB6538-DBA1-46DD-8A79-E7ED48DEE8E4}" presName="cycle" presStyleCnt="0"/>
      <dgm:spPr/>
      <dgm:t>
        <a:bodyPr/>
        <a:lstStyle/>
        <a:p>
          <a:endParaRPr lang="en-SG"/>
        </a:p>
      </dgm:t>
    </dgm:pt>
    <dgm:pt modelId="{3B02D644-EC0F-480F-9AF1-21FE9167FBF2}" type="pres">
      <dgm:prSet presAssocID="{27FB6538-DBA1-46DD-8A79-E7ED48DEE8E4}" presName="srcNode" presStyleLbl="node1" presStyleIdx="0" presStyleCnt="5"/>
      <dgm:spPr/>
      <dgm:t>
        <a:bodyPr/>
        <a:lstStyle/>
        <a:p>
          <a:endParaRPr lang="en-SG"/>
        </a:p>
      </dgm:t>
    </dgm:pt>
    <dgm:pt modelId="{F016D042-368B-49DE-8DB8-109A44D85FB8}" type="pres">
      <dgm:prSet presAssocID="{27FB6538-DBA1-46DD-8A79-E7ED48DEE8E4}" presName="conn" presStyleLbl="parChTrans1D2" presStyleIdx="0" presStyleCnt="1" custScaleX="117898"/>
      <dgm:spPr>
        <a:prstGeom prst="blockArc">
          <a:avLst>
            <a:gd name="adj1" fmla="val 18900000"/>
            <a:gd name="adj2" fmla="val 2700000"/>
            <a:gd name="adj3" fmla="val 354"/>
          </a:avLst>
        </a:prstGeom>
      </dgm:spPr>
      <dgm:t>
        <a:bodyPr/>
        <a:lstStyle/>
        <a:p>
          <a:endParaRPr lang="en-SG"/>
        </a:p>
      </dgm:t>
    </dgm:pt>
    <dgm:pt modelId="{A0636074-7534-4615-9524-F72C45A96894}" type="pres">
      <dgm:prSet presAssocID="{27FB6538-DBA1-46DD-8A79-E7ED48DEE8E4}" presName="extraNode" presStyleLbl="node1" presStyleIdx="0" presStyleCnt="5"/>
      <dgm:spPr/>
      <dgm:t>
        <a:bodyPr/>
        <a:lstStyle/>
        <a:p>
          <a:endParaRPr lang="en-SG"/>
        </a:p>
      </dgm:t>
    </dgm:pt>
    <dgm:pt modelId="{F5E095A5-5378-4BA6-B8FC-2C26CF0A0243}" type="pres">
      <dgm:prSet presAssocID="{27FB6538-DBA1-46DD-8A79-E7ED48DEE8E4}" presName="dstNode" presStyleLbl="node1" presStyleIdx="0" presStyleCnt="5"/>
      <dgm:spPr/>
      <dgm:t>
        <a:bodyPr/>
        <a:lstStyle/>
        <a:p>
          <a:endParaRPr lang="en-SG"/>
        </a:p>
      </dgm:t>
    </dgm:pt>
    <dgm:pt modelId="{761BFDF3-A7D6-4BFA-BB7C-3C6A6CF8D0C4}" type="pres">
      <dgm:prSet presAssocID="{356BADAE-71F5-429D-9E71-D7BCD2798760}" presName="text_1" presStyleLbl="node1" presStyleIdx="0" presStyleCnt="5" custScaleX="95637" custLinFactNeighborX="1976" custLinFactNeighborY="7749">
        <dgm:presLayoutVars>
          <dgm:bulletEnabled val="1"/>
        </dgm:presLayoutVars>
      </dgm:prSet>
      <dgm:spPr>
        <a:xfrm>
          <a:off x="364315" y="238337"/>
          <a:ext cx="6659801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0E497E6-A631-480C-A976-5D4906582440}" type="pres">
      <dgm:prSet presAssocID="{356BADAE-71F5-429D-9E71-D7BCD2798760}" presName="accent_1" presStyleCnt="0"/>
      <dgm:spPr/>
      <dgm:t>
        <a:bodyPr/>
        <a:lstStyle/>
        <a:p>
          <a:endParaRPr lang="en-SG"/>
        </a:p>
      </dgm:t>
    </dgm:pt>
    <dgm:pt modelId="{111D6A6A-75A1-4CC2-BC05-305810A6C53A}" type="pres">
      <dgm:prSet presAssocID="{356BADAE-71F5-429D-9E71-D7BCD2798760}" presName="accentRepeatNode" presStyleLbl="solidFgAcc1" presStyleIdx="0" presStyleCnt="5"/>
      <dgm:spPr>
        <a:xfrm>
          <a:off x="66507" y="17877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7D0B2677-CD80-4B31-BD56-8DAF5D8B611A}" type="pres">
      <dgm:prSet presAssocID="{1D92B34E-F6EA-4C5E-8ACA-7FA51DB1597A}" presName="text_2" presStyleLbl="node1" presStyleIdx="1" presStyleCnt="5">
        <dgm:presLayoutVars>
          <dgm:bulletEnabled val="1"/>
        </dgm:presLayoutVars>
      </dgm:prSet>
      <dgm:spPr>
        <a:xfrm>
          <a:off x="756263" y="952986"/>
          <a:ext cx="6267853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CA91C44-A94E-448C-9F8E-BE448D99799E}" type="pres">
      <dgm:prSet presAssocID="{1D92B34E-F6EA-4C5E-8ACA-7FA51DB1597A}" presName="accent_2" presStyleCnt="0"/>
      <dgm:spPr/>
      <dgm:t>
        <a:bodyPr/>
        <a:lstStyle/>
        <a:p>
          <a:endParaRPr lang="en-SG"/>
        </a:p>
      </dgm:t>
    </dgm:pt>
    <dgm:pt modelId="{E963B212-DC64-41B5-9D12-964D9682514A}" type="pres">
      <dgm:prSet presAssocID="{1D92B34E-F6EA-4C5E-8ACA-7FA51DB1597A}" presName="accentRepeatNode" presStyleLbl="solidFgAcc1" presStyleIdx="1" presStyleCnt="5"/>
      <dgm:spPr>
        <a:xfrm>
          <a:off x="458455" y="89342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56E52F00-BBFE-4A45-AAFE-BE259353943C}" type="pres">
      <dgm:prSet presAssocID="{A57A23F3-5064-4581-B7C3-9100A5344C33}" presName="text_3" presStyleLbl="node1" presStyleIdx="2" presStyleCnt="5">
        <dgm:presLayoutVars>
          <dgm:bulletEnabled val="1"/>
        </dgm:presLayoutVars>
      </dgm:prSet>
      <dgm:spPr>
        <a:xfrm>
          <a:off x="935492" y="1667636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4B9798B5-6BB1-4FEC-82F3-13DC6F1A928A}" type="pres">
      <dgm:prSet presAssocID="{A57A23F3-5064-4581-B7C3-9100A5344C33}" presName="accent_3" presStyleCnt="0"/>
      <dgm:spPr/>
      <dgm:t>
        <a:bodyPr/>
        <a:lstStyle/>
        <a:p>
          <a:endParaRPr lang="en-SG"/>
        </a:p>
      </dgm:t>
    </dgm:pt>
    <dgm:pt modelId="{7C738C1C-C737-407C-BD98-4A2A76335A10}" type="pres">
      <dgm:prSet presAssocID="{A57A23F3-5064-4581-B7C3-9100A5344C33}" presName="accentRepeatNode" presStyleLbl="solidFgAcc1" presStyleIdx="2" presStyleCnt="5"/>
      <dgm:spPr>
        <a:xfrm>
          <a:off x="637683" y="1608074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C3703577-6949-4DEA-86D2-7C1A5634D688}" type="pres">
      <dgm:prSet presAssocID="{DCA256DB-1B46-4A0B-9EA2-F1ED22EC2C5C}" presName="text_4" presStyleLbl="node1" presStyleIdx="3" presStyleCnt="5">
        <dgm:presLayoutVars>
          <dgm:bulletEnabled val="1"/>
        </dgm:presLayoutVars>
      </dgm:prSet>
      <dgm:spPr>
        <a:xfrm>
          <a:off x="935492" y="2381833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3004AD7A-ABCF-4D02-A175-AFE4255974D2}" type="pres">
      <dgm:prSet presAssocID="{DCA256DB-1B46-4A0B-9EA2-F1ED22EC2C5C}" presName="accent_4" presStyleCnt="0"/>
      <dgm:spPr/>
      <dgm:t>
        <a:bodyPr/>
        <a:lstStyle/>
        <a:p>
          <a:endParaRPr lang="en-SG"/>
        </a:p>
      </dgm:t>
    </dgm:pt>
    <dgm:pt modelId="{CD070EC4-0545-48CF-9D05-A2D5EB82A552}" type="pres">
      <dgm:prSet presAssocID="{DCA256DB-1B46-4A0B-9EA2-F1ED22EC2C5C}" presName="accentRepeatNode" presStyleLbl="solidFgAcc1" presStyleIdx="3" presStyleCnt="5"/>
      <dgm:spPr>
        <a:xfrm>
          <a:off x="637683" y="232227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3A29B301-0016-43D6-B2B9-9516B1112A98}" type="pres">
      <dgm:prSet presAssocID="{56B8FC9C-52DF-444B-8FB3-0DCA95C6AE47}" presName="text_5" presStyleLbl="node1" presStyleIdx="4" presStyleCnt="5">
        <dgm:presLayoutVars>
          <dgm:bulletEnabled val="1"/>
        </dgm:presLayoutVars>
      </dgm:prSet>
      <dgm:spPr>
        <a:xfrm>
          <a:off x="935492" y="2381833"/>
          <a:ext cx="6088625" cy="476493"/>
        </a:xfrm>
      </dgm:spPr>
      <dgm:t>
        <a:bodyPr/>
        <a:lstStyle/>
        <a:p>
          <a:endParaRPr lang="en-US"/>
        </a:p>
      </dgm:t>
    </dgm:pt>
    <dgm:pt modelId="{DCCCB0F8-C0C5-4005-A9CC-5E93D189A98D}" type="pres">
      <dgm:prSet presAssocID="{56B8FC9C-52DF-444B-8FB3-0DCA95C6AE47}" presName="accent_5" presStyleCnt="0"/>
      <dgm:spPr/>
      <dgm:t>
        <a:bodyPr/>
        <a:lstStyle/>
        <a:p>
          <a:endParaRPr lang="en-SG"/>
        </a:p>
      </dgm:t>
    </dgm:pt>
    <dgm:pt modelId="{41A4B0ED-9887-44C5-8498-9E2FDDC9AA75}" type="pres">
      <dgm:prSet presAssocID="{56B8FC9C-52DF-444B-8FB3-0DCA95C6AE47}" presName="accentRepeatNode" presStyleLbl="solidFgAcc1" presStyleIdx="4" presStyleCnt="5"/>
      <dgm:spPr>
        <a:xfrm>
          <a:off x="458455" y="303692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SG"/>
        </a:p>
      </dgm:t>
    </dgm:pt>
  </dgm:ptLst>
  <dgm:cxnLst>
    <dgm:cxn modelId="{3A183E98-3F7D-4FAC-9460-CE86739B5D9D}" type="presOf" srcId="{356BADAE-71F5-429D-9E71-D7BCD2798760}" destId="{761BFDF3-A7D6-4BFA-BB7C-3C6A6CF8D0C4}" srcOrd="0" destOrd="0" presId="urn:microsoft.com/office/officeart/2008/layout/VerticalCurvedList"/>
    <dgm:cxn modelId="{70140566-6AE5-40D5-A1CE-CE730A29B4FE}" type="presOf" srcId="{DCA256DB-1B46-4A0B-9EA2-F1ED22EC2C5C}" destId="{C3703577-6949-4DEA-86D2-7C1A5634D688}" srcOrd="0" destOrd="0" presId="urn:microsoft.com/office/officeart/2008/layout/VerticalCurvedList"/>
    <dgm:cxn modelId="{4BB6E423-8AA3-4942-ADB9-BCF61BE9D37D}" type="presOf" srcId="{56B8FC9C-52DF-444B-8FB3-0DCA95C6AE47}" destId="{3A29B301-0016-43D6-B2B9-9516B1112A98}" srcOrd="0" destOrd="0" presId="urn:microsoft.com/office/officeart/2008/layout/VerticalCurvedList"/>
    <dgm:cxn modelId="{C3A6D027-037E-4E9C-82F0-9414335D4306}" srcId="{27FB6538-DBA1-46DD-8A79-E7ED48DEE8E4}" destId="{1D92B34E-F6EA-4C5E-8ACA-7FA51DB1597A}" srcOrd="1" destOrd="0" parTransId="{BBDB8A99-F4FF-4938-9BD4-B02B721A64BF}" sibTransId="{FFAB30D9-AB74-49C2-B6C7-48EB63FE9002}"/>
    <dgm:cxn modelId="{99AEDB80-6ED3-436D-8C64-9637AE59A17F}" srcId="{27FB6538-DBA1-46DD-8A79-E7ED48DEE8E4}" destId="{356BADAE-71F5-429D-9E71-D7BCD2798760}" srcOrd="0" destOrd="0" parTransId="{520B9485-E84F-4927-ACEB-E15602884A61}" sibTransId="{52FD0F21-3724-43A0-8B5E-6852FB0D059A}"/>
    <dgm:cxn modelId="{EE81D955-3C04-4A28-8416-6427C44546FC}" srcId="{27FB6538-DBA1-46DD-8A79-E7ED48DEE8E4}" destId="{DCA256DB-1B46-4A0B-9EA2-F1ED22EC2C5C}" srcOrd="3" destOrd="0" parTransId="{79C21227-30D8-4ACB-8662-6E403F052234}" sibTransId="{F619734E-7625-4320-BF1D-80952ED71545}"/>
    <dgm:cxn modelId="{D7C720F2-C7CE-4B4B-9F27-8DD6838398A8}" srcId="{27FB6538-DBA1-46DD-8A79-E7ED48DEE8E4}" destId="{A57A23F3-5064-4581-B7C3-9100A5344C33}" srcOrd="2" destOrd="0" parTransId="{7BE3DE13-FC4C-49AE-8600-457FC42128D9}" sibTransId="{D18DC013-E58D-42C4-A39D-B4595195EC78}"/>
    <dgm:cxn modelId="{8DE04BC9-879F-4B2F-B927-FB315A7AFED0}" type="presOf" srcId="{52FD0F21-3724-43A0-8B5E-6852FB0D059A}" destId="{F016D042-368B-49DE-8DB8-109A44D85FB8}" srcOrd="0" destOrd="0" presId="urn:microsoft.com/office/officeart/2008/layout/VerticalCurvedList"/>
    <dgm:cxn modelId="{4A9D0EF2-4C58-4B84-9DF0-E7AF8D1F75EE}" type="presOf" srcId="{1D92B34E-F6EA-4C5E-8ACA-7FA51DB1597A}" destId="{7D0B2677-CD80-4B31-BD56-8DAF5D8B611A}" srcOrd="0" destOrd="0" presId="urn:microsoft.com/office/officeart/2008/layout/VerticalCurvedList"/>
    <dgm:cxn modelId="{ECEC6310-3326-4AD6-8BFA-59D618AD80FA}" srcId="{27FB6538-DBA1-46DD-8A79-E7ED48DEE8E4}" destId="{56B8FC9C-52DF-444B-8FB3-0DCA95C6AE47}" srcOrd="4" destOrd="0" parTransId="{D4BA7826-84A5-4CBF-8C42-CCFC693CE46F}" sibTransId="{DF48CE1A-3879-437D-945C-706CC1B94873}"/>
    <dgm:cxn modelId="{522C206F-AD75-4C65-870D-664C9EEC3F59}" type="presOf" srcId="{27FB6538-DBA1-46DD-8A79-E7ED48DEE8E4}" destId="{A1195B61-F0F1-4D79-9AA3-4911A2E57CB3}" srcOrd="0" destOrd="0" presId="urn:microsoft.com/office/officeart/2008/layout/VerticalCurvedList"/>
    <dgm:cxn modelId="{84B50C35-7F11-435B-86B8-AF12074A6184}" type="presOf" srcId="{A57A23F3-5064-4581-B7C3-9100A5344C33}" destId="{56E52F00-BBFE-4A45-AAFE-BE259353943C}" srcOrd="0" destOrd="0" presId="urn:microsoft.com/office/officeart/2008/layout/VerticalCurvedList"/>
    <dgm:cxn modelId="{10B8A1D0-11DC-42A4-AF8F-A82CCB3DDF3A}" type="presParOf" srcId="{A1195B61-F0F1-4D79-9AA3-4911A2E57CB3}" destId="{7A7EB14D-C022-4BC5-B085-DFA634827121}" srcOrd="0" destOrd="0" presId="urn:microsoft.com/office/officeart/2008/layout/VerticalCurvedList"/>
    <dgm:cxn modelId="{9443933C-1CE6-4EED-95D8-87A48FC49F1F}" type="presParOf" srcId="{7A7EB14D-C022-4BC5-B085-DFA634827121}" destId="{D8D8AD71-720B-44C1-B592-DD20D038FDF3}" srcOrd="0" destOrd="0" presId="urn:microsoft.com/office/officeart/2008/layout/VerticalCurvedList"/>
    <dgm:cxn modelId="{2D0FF178-7D5D-4717-8ECF-4F8613233E39}" type="presParOf" srcId="{D8D8AD71-720B-44C1-B592-DD20D038FDF3}" destId="{3B02D644-EC0F-480F-9AF1-21FE9167FBF2}" srcOrd="0" destOrd="0" presId="urn:microsoft.com/office/officeart/2008/layout/VerticalCurvedList"/>
    <dgm:cxn modelId="{67265DBF-A02B-4C7E-89B1-E51850D91A69}" type="presParOf" srcId="{D8D8AD71-720B-44C1-B592-DD20D038FDF3}" destId="{F016D042-368B-49DE-8DB8-109A44D85FB8}" srcOrd="1" destOrd="0" presId="urn:microsoft.com/office/officeart/2008/layout/VerticalCurvedList"/>
    <dgm:cxn modelId="{701B6396-BAD9-4736-8B53-F1E2B816E1D3}" type="presParOf" srcId="{D8D8AD71-720B-44C1-B592-DD20D038FDF3}" destId="{A0636074-7534-4615-9524-F72C45A96894}" srcOrd="2" destOrd="0" presId="urn:microsoft.com/office/officeart/2008/layout/VerticalCurvedList"/>
    <dgm:cxn modelId="{79B26065-B72C-4541-B593-4BCD3C32CADB}" type="presParOf" srcId="{D8D8AD71-720B-44C1-B592-DD20D038FDF3}" destId="{F5E095A5-5378-4BA6-B8FC-2C26CF0A0243}" srcOrd="3" destOrd="0" presId="urn:microsoft.com/office/officeart/2008/layout/VerticalCurvedList"/>
    <dgm:cxn modelId="{CA48338B-0B6D-40F0-9234-10E6F216E7F2}" type="presParOf" srcId="{7A7EB14D-C022-4BC5-B085-DFA634827121}" destId="{761BFDF3-A7D6-4BFA-BB7C-3C6A6CF8D0C4}" srcOrd="1" destOrd="0" presId="urn:microsoft.com/office/officeart/2008/layout/VerticalCurvedList"/>
    <dgm:cxn modelId="{9D0DBAEA-F868-4A25-87D7-D8B397EE31FF}" type="presParOf" srcId="{7A7EB14D-C022-4BC5-B085-DFA634827121}" destId="{D0E497E6-A631-480C-A976-5D4906582440}" srcOrd="2" destOrd="0" presId="urn:microsoft.com/office/officeart/2008/layout/VerticalCurvedList"/>
    <dgm:cxn modelId="{E51324EA-AB50-45F9-8F9D-8CF644C7C870}" type="presParOf" srcId="{D0E497E6-A631-480C-A976-5D4906582440}" destId="{111D6A6A-75A1-4CC2-BC05-305810A6C53A}" srcOrd="0" destOrd="0" presId="urn:microsoft.com/office/officeart/2008/layout/VerticalCurvedList"/>
    <dgm:cxn modelId="{201F8A59-4ADE-46C9-B31A-62EF9DACEFA0}" type="presParOf" srcId="{7A7EB14D-C022-4BC5-B085-DFA634827121}" destId="{7D0B2677-CD80-4B31-BD56-8DAF5D8B611A}" srcOrd="3" destOrd="0" presId="urn:microsoft.com/office/officeart/2008/layout/VerticalCurvedList"/>
    <dgm:cxn modelId="{758A3688-6362-4E58-83B8-84443593F8E9}" type="presParOf" srcId="{7A7EB14D-C022-4BC5-B085-DFA634827121}" destId="{DCA91C44-A94E-448C-9F8E-BE448D99799E}" srcOrd="4" destOrd="0" presId="urn:microsoft.com/office/officeart/2008/layout/VerticalCurvedList"/>
    <dgm:cxn modelId="{25E7A5AB-7AAD-40C1-96DE-0A0483E77825}" type="presParOf" srcId="{DCA91C44-A94E-448C-9F8E-BE448D99799E}" destId="{E963B212-DC64-41B5-9D12-964D9682514A}" srcOrd="0" destOrd="0" presId="urn:microsoft.com/office/officeart/2008/layout/VerticalCurvedList"/>
    <dgm:cxn modelId="{BAE94297-2B36-4AE7-A719-D92F42C8C3C7}" type="presParOf" srcId="{7A7EB14D-C022-4BC5-B085-DFA634827121}" destId="{56E52F00-BBFE-4A45-AAFE-BE259353943C}" srcOrd="5" destOrd="0" presId="urn:microsoft.com/office/officeart/2008/layout/VerticalCurvedList"/>
    <dgm:cxn modelId="{49A49E12-62B9-4CD7-9852-C9F9B6944E3C}" type="presParOf" srcId="{7A7EB14D-C022-4BC5-B085-DFA634827121}" destId="{4B9798B5-6BB1-4FEC-82F3-13DC6F1A928A}" srcOrd="6" destOrd="0" presId="urn:microsoft.com/office/officeart/2008/layout/VerticalCurvedList"/>
    <dgm:cxn modelId="{C976EEF0-B956-4516-B6FF-B390E0B41404}" type="presParOf" srcId="{4B9798B5-6BB1-4FEC-82F3-13DC6F1A928A}" destId="{7C738C1C-C737-407C-BD98-4A2A76335A10}" srcOrd="0" destOrd="0" presId="urn:microsoft.com/office/officeart/2008/layout/VerticalCurvedList"/>
    <dgm:cxn modelId="{A15657EE-087D-4449-A17C-8FB436CACD87}" type="presParOf" srcId="{7A7EB14D-C022-4BC5-B085-DFA634827121}" destId="{C3703577-6949-4DEA-86D2-7C1A5634D688}" srcOrd="7" destOrd="0" presId="urn:microsoft.com/office/officeart/2008/layout/VerticalCurvedList"/>
    <dgm:cxn modelId="{C1B0CEA2-960C-4C62-B3DB-0F5C84442E21}" type="presParOf" srcId="{7A7EB14D-C022-4BC5-B085-DFA634827121}" destId="{3004AD7A-ABCF-4D02-A175-AFE4255974D2}" srcOrd="8" destOrd="0" presId="urn:microsoft.com/office/officeart/2008/layout/VerticalCurvedList"/>
    <dgm:cxn modelId="{B84FF6F7-F3D1-4D25-AD95-FD775B9FD263}" type="presParOf" srcId="{3004AD7A-ABCF-4D02-A175-AFE4255974D2}" destId="{CD070EC4-0545-48CF-9D05-A2D5EB82A552}" srcOrd="0" destOrd="0" presId="urn:microsoft.com/office/officeart/2008/layout/VerticalCurvedList"/>
    <dgm:cxn modelId="{E01BEE2D-9026-4BB7-B887-3242C68D93FC}" type="presParOf" srcId="{7A7EB14D-C022-4BC5-B085-DFA634827121}" destId="{3A29B301-0016-43D6-B2B9-9516B1112A98}" srcOrd="9" destOrd="0" presId="urn:microsoft.com/office/officeart/2008/layout/VerticalCurvedList"/>
    <dgm:cxn modelId="{A07ED90B-83D5-46F3-BD52-5DD7C5FAAFEA}" type="presParOf" srcId="{7A7EB14D-C022-4BC5-B085-DFA634827121}" destId="{DCCCB0F8-C0C5-4005-A9CC-5E93D189A98D}" srcOrd="10" destOrd="0" presId="urn:microsoft.com/office/officeart/2008/layout/VerticalCurvedList"/>
    <dgm:cxn modelId="{6DADEEF5-D0A8-4FBE-9541-0EC4394A4A49}" type="presParOf" srcId="{DCCCB0F8-C0C5-4005-A9CC-5E93D189A98D}" destId="{41A4B0ED-9887-44C5-8498-9E2FDDC9AA75}" srcOrd="0" destOrd="0" presId="urn:microsoft.com/office/officeart/2008/layout/VerticalCurvedList"/>
  </dgm:cxnLst>
  <dgm:bg/>
  <dgm:whole>
    <a:ln>
      <a:noFill/>
      <a:prstDash val="dashDot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7FB6538-DBA1-46DD-8A79-E7ED48DEE8E4}" type="doc">
      <dgm:prSet loTypeId="urn:microsoft.com/office/officeart/2008/layout/VerticalCurvedList" loCatId="list" qsTypeId="urn:microsoft.com/office/officeart/2005/8/quickstyle/3d3" qsCatId="3D" csTypeId="urn:microsoft.com/office/officeart/2005/8/colors/colorful1#1" csCatId="colorful" phldr="1"/>
      <dgm:spPr/>
      <dgm:t>
        <a:bodyPr/>
        <a:lstStyle/>
        <a:p>
          <a:endParaRPr lang="en-SG"/>
        </a:p>
      </dgm:t>
    </dgm:pt>
    <dgm:pt modelId="{356BADAE-71F5-429D-9E71-D7BCD2798760}">
      <dgm:prSet phldrT="[Text]"/>
      <dgm:spPr>
        <a:xfrm>
          <a:off x="641196" y="275260"/>
          <a:ext cx="6369234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Introduction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520B9485-E84F-4927-ACEB-E15602884A61}" type="parTrans" cxnId="{99AEDB80-6ED3-436D-8C64-9637AE59A17F}">
      <dgm:prSet/>
      <dgm:spPr/>
      <dgm:t>
        <a:bodyPr/>
        <a:lstStyle/>
        <a:p>
          <a:endParaRPr lang="en-SG"/>
        </a:p>
      </dgm:t>
    </dgm:pt>
    <dgm:pt modelId="{52FD0F21-3724-43A0-8B5E-6852FB0D059A}" type="sibTrans" cxnId="{99AEDB80-6ED3-436D-8C64-9637AE59A17F}">
      <dgm:prSet/>
      <dgm:spPr>
        <a:xfrm>
          <a:off x="-5662316" y="-783865"/>
          <a:ext cx="7184343" cy="6093694"/>
        </a:xfr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gm:spPr>
      <dgm:t>
        <a:bodyPr/>
        <a:lstStyle/>
        <a:p>
          <a:endParaRPr lang="en-SG" dirty="0"/>
        </a:p>
      </dgm:t>
    </dgm:pt>
    <dgm:pt modelId="{1D92B34E-F6EA-4C5E-8ACA-7FA51DB1597A}">
      <dgm:prSet phldrT="[Text]"/>
      <dgm:spPr>
        <a:xfrm>
          <a:off x="756263" y="952986"/>
          <a:ext cx="6267853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BBDB8A99-F4FF-4938-9BD4-B02B721A64BF}" type="parTrans" cxnId="{C3A6D027-037E-4E9C-82F0-9414335D4306}">
      <dgm:prSet/>
      <dgm:spPr/>
      <dgm:t>
        <a:bodyPr/>
        <a:lstStyle/>
        <a:p>
          <a:endParaRPr lang="en-SG"/>
        </a:p>
      </dgm:t>
    </dgm:pt>
    <dgm:pt modelId="{FFAB30D9-AB74-49C2-B6C7-48EB63FE9002}" type="sibTrans" cxnId="{C3A6D027-037E-4E9C-82F0-9414335D4306}">
      <dgm:prSet/>
      <dgm:spPr/>
      <dgm:t>
        <a:bodyPr/>
        <a:lstStyle/>
        <a:p>
          <a:endParaRPr lang="en-SG"/>
        </a:p>
      </dgm:t>
    </dgm:pt>
    <dgm:pt modelId="{A57A23F3-5064-4581-B7C3-9100A5344C33}">
      <dgm:prSet phldrT="[Text]"/>
      <dgm:spPr>
        <a:xfrm>
          <a:off x="935492" y="1667636"/>
          <a:ext cx="6088625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Solution Review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7BE3DE13-FC4C-49AE-8600-457FC42128D9}" type="parTrans" cxnId="{D7C720F2-C7CE-4B4B-9F27-8DD6838398A8}">
      <dgm:prSet/>
      <dgm:spPr/>
      <dgm:t>
        <a:bodyPr/>
        <a:lstStyle/>
        <a:p>
          <a:endParaRPr lang="en-SG"/>
        </a:p>
      </dgm:t>
    </dgm:pt>
    <dgm:pt modelId="{D18DC013-E58D-42C4-A39D-B4595195EC78}" type="sibTrans" cxnId="{D7C720F2-C7CE-4B4B-9F27-8DD6838398A8}">
      <dgm:prSet/>
      <dgm:spPr/>
      <dgm:t>
        <a:bodyPr/>
        <a:lstStyle/>
        <a:p>
          <a:endParaRPr lang="en-SG"/>
        </a:p>
      </dgm:t>
    </dgm:pt>
    <dgm:pt modelId="{DCA256DB-1B46-4A0B-9EA2-F1ED22EC2C5C}">
      <dgm:prSet phldrT="[Text]"/>
      <dgm:spPr>
        <a:xfrm>
          <a:off x="935492" y="2381833"/>
          <a:ext cx="6088625" cy="476493"/>
        </a:xfrm>
        <a:solidFill>
          <a:srgbClr val="4BACC6"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Project Governance</a:t>
          </a:r>
          <a:endParaRPr lang="en-SG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79C21227-30D8-4ACB-8662-6E403F052234}" type="parTrans" cxnId="{EE81D955-3C04-4A28-8416-6427C44546FC}">
      <dgm:prSet/>
      <dgm:spPr/>
      <dgm:t>
        <a:bodyPr/>
        <a:lstStyle/>
        <a:p>
          <a:endParaRPr lang="en-SG"/>
        </a:p>
      </dgm:t>
    </dgm:pt>
    <dgm:pt modelId="{F619734E-7625-4320-BF1D-80952ED71545}" type="sibTrans" cxnId="{EE81D955-3C04-4A28-8416-6427C44546FC}">
      <dgm:prSet/>
      <dgm:spPr/>
      <dgm:t>
        <a:bodyPr/>
        <a:lstStyle/>
        <a:p>
          <a:endParaRPr lang="en-SG"/>
        </a:p>
      </dgm:t>
    </dgm:pt>
    <dgm:pt modelId="{56B8FC9C-52DF-444B-8FB3-0DCA95C6AE47}">
      <dgm:prSet phldrT="[Text]"/>
      <dgm:spPr>
        <a:xfrm>
          <a:off x="756263" y="3096482"/>
          <a:ext cx="6267853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D4BA7826-84A5-4CBF-8C42-CCFC693CE46F}" type="parTrans" cxnId="{ECEC6310-3326-4AD6-8BFA-59D618AD80FA}">
      <dgm:prSet/>
      <dgm:spPr/>
      <dgm:t>
        <a:bodyPr/>
        <a:lstStyle/>
        <a:p>
          <a:endParaRPr lang="en-US"/>
        </a:p>
      </dgm:t>
    </dgm:pt>
    <dgm:pt modelId="{DF48CE1A-3879-437D-945C-706CC1B94873}" type="sibTrans" cxnId="{ECEC6310-3326-4AD6-8BFA-59D618AD80FA}">
      <dgm:prSet/>
      <dgm:spPr/>
      <dgm:t>
        <a:bodyPr/>
        <a:lstStyle/>
        <a:p>
          <a:endParaRPr lang="en-US"/>
        </a:p>
      </dgm:t>
    </dgm:pt>
    <dgm:pt modelId="{A1195B61-F0F1-4D79-9AA3-4911A2E57CB3}" type="pres">
      <dgm:prSet presAssocID="{27FB6538-DBA1-46DD-8A79-E7ED48DEE8E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SG"/>
        </a:p>
      </dgm:t>
    </dgm:pt>
    <dgm:pt modelId="{7A7EB14D-C022-4BC5-B085-DFA634827121}" type="pres">
      <dgm:prSet presAssocID="{27FB6538-DBA1-46DD-8A79-E7ED48DEE8E4}" presName="Name1" presStyleCnt="0"/>
      <dgm:spPr/>
      <dgm:t>
        <a:bodyPr/>
        <a:lstStyle/>
        <a:p>
          <a:endParaRPr lang="en-SG"/>
        </a:p>
      </dgm:t>
    </dgm:pt>
    <dgm:pt modelId="{D8D8AD71-720B-44C1-B592-DD20D038FDF3}" type="pres">
      <dgm:prSet presAssocID="{27FB6538-DBA1-46DD-8A79-E7ED48DEE8E4}" presName="cycle" presStyleCnt="0"/>
      <dgm:spPr/>
      <dgm:t>
        <a:bodyPr/>
        <a:lstStyle/>
        <a:p>
          <a:endParaRPr lang="en-SG"/>
        </a:p>
      </dgm:t>
    </dgm:pt>
    <dgm:pt modelId="{3B02D644-EC0F-480F-9AF1-21FE9167FBF2}" type="pres">
      <dgm:prSet presAssocID="{27FB6538-DBA1-46DD-8A79-E7ED48DEE8E4}" presName="srcNode" presStyleLbl="node1" presStyleIdx="0" presStyleCnt="5"/>
      <dgm:spPr/>
      <dgm:t>
        <a:bodyPr/>
        <a:lstStyle/>
        <a:p>
          <a:endParaRPr lang="en-SG"/>
        </a:p>
      </dgm:t>
    </dgm:pt>
    <dgm:pt modelId="{F016D042-368B-49DE-8DB8-109A44D85FB8}" type="pres">
      <dgm:prSet presAssocID="{27FB6538-DBA1-46DD-8A79-E7ED48DEE8E4}" presName="conn" presStyleLbl="parChTrans1D2" presStyleIdx="0" presStyleCnt="1" custScaleX="117898"/>
      <dgm:spPr>
        <a:prstGeom prst="blockArc">
          <a:avLst>
            <a:gd name="adj1" fmla="val 18900000"/>
            <a:gd name="adj2" fmla="val 2700000"/>
            <a:gd name="adj3" fmla="val 354"/>
          </a:avLst>
        </a:prstGeom>
      </dgm:spPr>
      <dgm:t>
        <a:bodyPr/>
        <a:lstStyle/>
        <a:p>
          <a:endParaRPr lang="en-SG"/>
        </a:p>
      </dgm:t>
    </dgm:pt>
    <dgm:pt modelId="{A0636074-7534-4615-9524-F72C45A96894}" type="pres">
      <dgm:prSet presAssocID="{27FB6538-DBA1-46DD-8A79-E7ED48DEE8E4}" presName="extraNode" presStyleLbl="node1" presStyleIdx="0" presStyleCnt="5"/>
      <dgm:spPr/>
      <dgm:t>
        <a:bodyPr/>
        <a:lstStyle/>
        <a:p>
          <a:endParaRPr lang="en-SG"/>
        </a:p>
      </dgm:t>
    </dgm:pt>
    <dgm:pt modelId="{F5E095A5-5378-4BA6-B8FC-2C26CF0A0243}" type="pres">
      <dgm:prSet presAssocID="{27FB6538-DBA1-46DD-8A79-E7ED48DEE8E4}" presName="dstNode" presStyleLbl="node1" presStyleIdx="0" presStyleCnt="5"/>
      <dgm:spPr/>
      <dgm:t>
        <a:bodyPr/>
        <a:lstStyle/>
        <a:p>
          <a:endParaRPr lang="en-SG"/>
        </a:p>
      </dgm:t>
    </dgm:pt>
    <dgm:pt modelId="{761BFDF3-A7D6-4BFA-BB7C-3C6A6CF8D0C4}" type="pres">
      <dgm:prSet presAssocID="{356BADAE-71F5-429D-9E71-D7BCD2798760}" presName="text_1" presStyleLbl="node1" presStyleIdx="0" presStyleCnt="5" custScaleX="95637" custLinFactNeighborX="1976" custLinFactNeighborY="7749">
        <dgm:presLayoutVars>
          <dgm:bulletEnabled val="1"/>
        </dgm:presLayoutVars>
      </dgm:prSet>
      <dgm:spPr>
        <a:xfrm>
          <a:off x="364315" y="238337"/>
          <a:ext cx="6659801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0E497E6-A631-480C-A976-5D4906582440}" type="pres">
      <dgm:prSet presAssocID="{356BADAE-71F5-429D-9E71-D7BCD2798760}" presName="accent_1" presStyleCnt="0"/>
      <dgm:spPr/>
      <dgm:t>
        <a:bodyPr/>
        <a:lstStyle/>
        <a:p>
          <a:endParaRPr lang="en-SG"/>
        </a:p>
      </dgm:t>
    </dgm:pt>
    <dgm:pt modelId="{111D6A6A-75A1-4CC2-BC05-305810A6C53A}" type="pres">
      <dgm:prSet presAssocID="{356BADAE-71F5-429D-9E71-D7BCD2798760}" presName="accentRepeatNode" presStyleLbl="solidFgAcc1" presStyleIdx="0" presStyleCnt="5"/>
      <dgm:spPr>
        <a:xfrm>
          <a:off x="66507" y="17877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7D0B2677-CD80-4B31-BD56-8DAF5D8B611A}" type="pres">
      <dgm:prSet presAssocID="{1D92B34E-F6EA-4C5E-8ACA-7FA51DB1597A}" presName="text_2" presStyleLbl="node1" presStyleIdx="1" presStyleCnt="5">
        <dgm:presLayoutVars>
          <dgm:bulletEnabled val="1"/>
        </dgm:presLayoutVars>
      </dgm:prSet>
      <dgm:spPr>
        <a:xfrm>
          <a:off x="756263" y="952986"/>
          <a:ext cx="6267853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CA91C44-A94E-448C-9F8E-BE448D99799E}" type="pres">
      <dgm:prSet presAssocID="{1D92B34E-F6EA-4C5E-8ACA-7FA51DB1597A}" presName="accent_2" presStyleCnt="0"/>
      <dgm:spPr/>
      <dgm:t>
        <a:bodyPr/>
        <a:lstStyle/>
        <a:p>
          <a:endParaRPr lang="en-SG"/>
        </a:p>
      </dgm:t>
    </dgm:pt>
    <dgm:pt modelId="{E963B212-DC64-41B5-9D12-964D9682514A}" type="pres">
      <dgm:prSet presAssocID="{1D92B34E-F6EA-4C5E-8ACA-7FA51DB1597A}" presName="accentRepeatNode" presStyleLbl="solidFgAcc1" presStyleIdx="1" presStyleCnt="5"/>
      <dgm:spPr>
        <a:xfrm>
          <a:off x="458455" y="89342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56E52F00-BBFE-4A45-AAFE-BE259353943C}" type="pres">
      <dgm:prSet presAssocID="{A57A23F3-5064-4581-B7C3-9100A5344C33}" presName="text_3" presStyleLbl="node1" presStyleIdx="2" presStyleCnt="5">
        <dgm:presLayoutVars>
          <dgm:bulletEnabled val="1"/>
        </dgm:presLayoutVars>
      </dgm:prSet>
      <dgm:spPr>
        <a:xfrm>
          <a:off x="935492" y="1667636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4B9798B5-6BB1-4FEC-82F3-13DC6F1A928A}" type="pres">
      <dgm:prSet presAssocID="{A57A23F3-5064-4581-B7C3-9100A5344C33}" presName="accent_3" presStyleCnt="0"/>
      <dgm:spPr/>
      <dgm:t>
        <a:bodyPr/>
        <a:lstStyle/>
        <a:p>
          <a:endParaRPr lang="en-SG"/>
        </a:p>
      </dgm:t>
    </dgm:pt>
    <dgm:pt modelId="{7C738C1C-C737-407C-BD98-4A2A76335A10}" type="pres">
      <dgm:prSet presAssocID="{A57A23F3-5064-4581-B7C3-9100A5344C33}" presName="accentRepeatNode" presStyleLbl="solidFgAcc1" presStyleIdx="2" presStyleCnt="5"/>
      <dgm:spPr>
        <a:xfrm>
          <a:off x="637683" y="1608074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C3703577-6949-4DEA-86D2-7C1A5634D688}" type="pres">
      <dgm:prSet presAssocID="{DCA256DB-1B46-4A0B-9EA2-F1ED22EC2C5C}" presName="text_4" presStyleLbl="node1" presStyleIdx="3" presStyleCnt="5">
        <dgm:presLayoutVars>
          <dgm:bulletEnabled val="1"/>
        </dgm:presLayoutVars>
      </dgm:prSet>
      <dgm:spPr>
        <a:xfrm>
          <a:off x="935492" y="2381833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3004AD7A-ABCF-4D02-A175-AFE4255974D2}" type="pres">
      <dgm:prSet presAssocID="{DCA256DB-1B46-4A0B-9EA2-F1ED22EC2C5C}" presName="accent_4" presStyleCnt="0"/>
      <dgm:spPr/>
      <dgm:t>
        <a:bodyPr/>
        <a:lstStyle/>
        <a:p>
          <a:endParaRPr lang="en-SG"/>
        </a:p>
      </dgm:t>
    </dgm:pt>
    <dgm:pt modelId="{CD070EC4-0545-48CF-9D05-A2D5EB82A552}" type="pres">
      <dgm:prSet presAssocID="{DCA256DB-1B46-4A0B-9EA2-F1ED22EC2C5C}" presName="accentRepeatNode" presStyleLbl="solidFgAcc1" presStyleIdx="3" presStyleCnt="5"/>
      <dgm:spPr>
        <a:xfrm>
          <a:off x="637683" y="232227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3A29B301-0016-43D6-B2B9-9516B1112A98}" type="pres">
      <dgm:prSet presAssocID="{56B8FC9C-52DF-444B-8FB3-0DCA95C6AE47}" presName="text_5" presStyleLbl="node1" presStyleIdx="4" presStyleCnt="5">
        <dgm:presLayoutVars>
          <dgm:bulletEnabled val="1"/>
        </dgm:presLayoutVars>
      </dgm:prSet>
      <dgm:spPr>
        <a:xfrm>
          <a:off x="935492" y="2381833"/>
          <a:ext cx="6088625" cy="476493"/>
        </a:xfrm>
      </dgm:spPr>
      <dgm:t>
        <a:bodyPr/>
        <a:lstStyle/>
        <a:p>
          <a:endParaRPr lang="en-US"/>
        </a:p>
      </dgm:t>
    </dgm:pt>
    <dgm:pt modelId="{DCCCB0F8-C0C5-4005-A9CC-5E93D189A98D}" type="pres">
      <dgm:prSet presAssocID="{56B8FC9C-52DF-444B-8FB3-0DCA95C6AE47}" presName="accent_5" presStyleCnt="0"/>
      <dgm:spPr/>
      <dgm:t>
        <a:bodyPr/>
        <a:lstStyle/>
        <a:p>
          <a:endParaRPr lang="en-SG"/>
        </a:p>
      </dgm:t>
    </dgm:pt>
    <dgm:pt modelId="{41A4B0ED-9887-44C5-8498-9E2FDDC9AA75}" type="pres">
      <dgm:prSet presAssocID="{56B8FC9C-52DF-444B-8FB3-0DCA95C6AE47}" presName="accentRepeatNode" presStyleLbl="solidFgAcc1" presStyleIdx="4" presStyleCnt="5"/>
      <dgm:spPr>
        <a:xfrm>
          <a:off x="458455" y="303692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SG"/>
        </a:p>
      </dgm:t>
    </dgm:pt>
  </dgm:ptLst>
  <dgm:cxnLst>
    <dgm:cxn modelId="{D7C720F2-C7CE-4B4B-9F27-8DD6838398A8}" srcId="{27FB6538-DBA1-46DD-8A79-E7ED48DEE8E4}" destId="{A57A23F3-5064-4581-B7C3-9100A5344C33}" srcOrd="2" destOrd="0" parTransId="{7BE3DE13-FC4C-49AE-8600-457FC42128D9}" sibTransId="{D18DC013-E58D-42C4-A39D-B4595195EC78}"/>
    <dgm:cxn modelId="{ECEC6310-3326-4AD6-8BFA-59D618AD80FA}" srcId="{27FB6538-DBA1-46DD-8A79-E7ED48DEE8E4}" destId="{56B8FC9C-52DF-444B-8FB3-0DCA95C6AE47}" srcOrd="4" destOrd="0" parTransId="{D4BA7826-84A5-4CBF-8C42-CCFC693CE46F}" sibTransId="{DF48CE1A-3879-437D-945C-706CC1B94873}"/>
    <dgm:cxn modelId="{EE81D955-3C04-4A28-8416-6427C44546FC}" srcId="{27FB6538-DBA1-46DD-8A79-E7ED48DEE8E4}" destId="{DCA256DB-1B46-4A0B-9EA2-F1ED22EC2C5C}" srcOrd="3" destOrd="0" parTransId="{79C21227-30D8-4ACB-8662-6E403F052234}" sibTransId="{F619734E-7625-4320-BF1D-80952ED71545}"/>
    <dgm:cxn modelId="{6144FFCE-8AB7-45B5-84A5-6716CA0AEB89}" type="presOf" srcId="{56B8FC9C-52DF-444B-8FB3-0DCA95C6AE47}" destId="{3A29B301-0016-43D6-B2B9-9516B1112A98}" srcOrd="0" destOrd="0" presId="urn:microsoft.com/office/officeart/2008/layout/VerticalCurvedList"/>
    <dgm:cxn modelId="{9A33BE31-7A5B-42E8-85EC-C54733D8443A}" type="presOf" srcId="{A57A23F3-5064-4581-B7C3-9100A5344C33}" destId="{56E52F00-BBFE-4A45-AAFE-BE259353943C}" srcOrd="0" destOrd="0" presId="urn:microsoft.com/office/officeart/2008/layout/VerticalCurvedList"/>
    <dgm:cxn modelId="{178A8F71-EB46-4A44-BBE7-628394A8A922}" type="presOf" srcId="{52FD0F21-3724-43A0-8B5E-6852FB0D059A}" destId="{F016D042-368B-49DE-8DB8-109A44D85FB8}" srcOrd="0" destOrd="0" presId="urn:microsoft.com/office/officeart/2008/layout/VerticalCurvedList"/>
    <dgm:cxn modelId="{0D31976B-01A1-4640-8627-C96B036B87D3}" type="presOf" srcId="{1D92B34E-F6EA-4C5E-8ACA-7FA51DB1597A}" destId="{7D0B2677-CD80-4B31-BD56-8DAF5D8B611A}" srcOrd="0" destOrd="0" presId="urn:microsoft.com/office/officeart/2008/layout/VerticalCurvedList"/>
    <dgm:cxn modelId="{DD0BD911-FF9F-43EB-B5F2-BC5B6CC95CEF}" type="presOf" srcId="{27FB6538-DBA1-46DD-8A79-E7ED48DEE8E4}" destId="{A1195B61-F0F1-4D79-9AA3-4911A2E57CB3}" srcOrd="0" destOrd="0" presId="urn:microsoft.com/office/officeart/2008/layout/VerticalCurvedList"/>
    <dgm:cxn modelId="{092AAB72-F742-461F-BAB9-6C907CDAC21F}" type="presOf" srcId="{DCA256DB-1B46-4A0B-9EA2-F1ED22EC2C5C}" destId="{C3703577-6949-4DEA-86D2-7C1A5634D688}" srcOrd="0" destOrd="0" presId="urn:microsoft.com/office/officeart/2008/layout/VerticalCurvedList"/>
    <dgm:cxn modelId="{99AEDB80-6ED3-436D-8C64-9637AE59A17F}" srcId="{27FB6538-DBA1-46DD-8A79-E7ED48DEE8E4}" destId="{356BADAE-71F5-429D-9E71-D7BCD2798760}" srcOrd="0" destOrd="0" parTransId="{520B9485-E84F-4927-ACEB-E15602884A61}" sibTransId="{52FD0F21-3724-43A0-8B5E-6852FB0D059A}"/>
    <dgm:cxn modelId="{54489657-CE11-44FC-84FB-2BE8EB8BB8AA}" type="presOf" srcId="{356BADAE-71F5-429D-9E71-D7BCD2798760}" destId="{761BFDF3-A7D6-4BFA-BB7C-3C6A6CF8D0C4}" srcOrd="0" destOrd="0" presId="urn:microsoft.com/office/officeart/2008/layout/VerticalCurvedList"/>
    <dgm:cxn modelId="{C3A6D027-037E-4E9C-82F0-9414335D4306}" srcId="{27FB6538-DBA1-46DD-8A79-E7ED48DEE8E4}" destId="{1D92B34E-F6EA-4C5E-8ACA-7FA51DB1597A}" srcOrd="1" destOrd="0" parTransId="{BBDB8A99-F4FF-4938-9BD4-B02B721A64BF}" sibTransId="{FFAB30D9-AB74-49C2-B6C7-48EB63FE9002}"/>
    <dgm:cxn modelId="{7A8CD89A-F1F6-47A0-A575-02038B85B673}" type="presParOf" srcId="{A1195B61-F0F1-4D79-9AA3-4911A2E57CB3}" destId="{7A7EB14D-C022-4BC5-B085-DFA634827121}" srcOrd="0" destOrd="0" presId="urn:microsoft.com/office/officeart/2008/layout/VerticalCurvedList"/>
    <dgm:cxn modelId="{0B273ECA-BB2B-4BE9-A5FE-2365061A56C2}" type="presParOf" srcId="{7A7EB14D-C022-4BC5-B085-DFA634827121}" destId="{D8D8AD71-720B-44C1-B592-DD20D038FDF3}" srcOrd="0" destOrd="0" presId="urn:microsoft.com/office/officeart/2008/layout/VerticalCurvedList"/>
    <dgm:cxn modelId="{A97F4B64-CE9F-4045-BAB9-EFF0C17F7B55}" type="presParOf" srcId="{D8D8AD71-720B-44C1-B592-DD20D038FDF3}" destId="{3B02D644-EC0F-480F-9AF1-21FE9167FBF2}" srcOrd="0" destOrd="0" presId="urn:microsoft.com/office/officeart/2008/layout/VerticalCurvedList"/>
    <dgm:cxn modelId="{CEFBAF53-DF32-4587-9174-C450B23F0F1E}" type="presParOf" srcId="{D8D8AD71-720B-44C1-B592-DD20D038FDF3}" destId="{F016D042-368B-49DE-8DB8-109A44D85FB8}" srcOrd="1" destOrd="0" presId="urn:microsoft.com/office/officeart/2008/layout/VerticalCurvedList"/>
    <dgm:cxn modelId="{88D6DC14-01E3-452C-8EC6-2EA0C6455C06}" type="presParOf" srcId="{D8D8AD71-720B-44C1-B592-DD20D038FDF3}" destId="{A0636074-7534-4615-9524-F72C45A96894}" srcOrd="2" destOrd="0" presId="urn:microsoft.com/office/officeart/2008/layout/VerticalCurvedList"/>
    <dgm:cxn modelId="{5E5B127A-63AF-4BE6-8DA8-D5D7C197A63F}" type="presParOf" srcId="{D8D8AD71-720B-44C1-B592-DD20D038FDF3}" destId="{F5E095A5-5378-4BA6-B8FC-2C26CF0A0243}" srcOrd="3" destOrd="0" presId="urn:microsoft.com/office/officeart/2008/layout/VerticalCurvedList"/>
    <dgm:cxn modelId="{57258035-E570-49E6-B268-FB6D9CCBF517}" type="presParOf" srcId="{7A7EB14D-C022-4BC5-B085-DFA634827121}" destId="{761BFDF3-A7D6-4BFA-BB7C-3C6A6CF8D0C4}" srcOrd="1" destOrd="0" presId="urn:microsoft.com/office/officeart/2008/layout/VerticalCurvedList"/>
    <dgm:cxn modelId="{530A921A-BDE9-413D-8A27-828DBB83B9CA}" type="presParOf" srcId="{7A7EB14D-C022-4BC5-B085-DFA634827121}" destId="{D0E497E6-A631-480C-A976-5D4906582440}" srcOrd="2" destOrd="0" presId="urn:microsoft.com/office/officeart/2008/layout/VerticalCurvedList"/>
    <dgm:cxn modelId="{D01D8CA1-FE8D-4215-B636-9E5016059DAE}" type="presParOf" srcId="{D0E497E6-A631-480C-A976-5D4906582440}" destId="{111D6A6A-75A1-4CC2-BC05-305810A6C53A}" srcOrd="0" destOrd="0" presId="urn:microsoft.com/office/officeart/2008/layout/VerticalCurvedList"/>
    <dgm:cxn modelId="{26676609-D04C-4BE7-B6EF-C183620C509A}" type="presParOf" srcId="{7A7EB14D-C022-4BC5-B085-DFA634827121}" destId="{7D0B2677-CD80-4B31-BD56-8DAF5D8B611A}" srcOrd="3" destOrd="0" presId="urn:microsoft.com/office/officeart/2008/layout/VerticalCurvedList"/>
    <dgm:cxn modelId="{8BA00F4E-406E-4307-8F70-579651DBF39B}" type="presParOf" srcId="{7A7EB14D-C022-4BC5-B085-DFA634827121}" destId="{DCA91C44-A94E-448C-9F8E-BE448D99799E}" srcOrd="4" destOrd="0" presId="urn:microsoft.com/office/officeart/2008/layout/VerticalCurvedList"/>
    <dgm:cxn modelId="{8884B100-6BD0-4F40-BF41-779D77DD4B50}" type="presParOf" srcId="{DCA91C44-A94E-448C-9F8E-BE448D99799E}" destId="{E963B212-DC64-41B5-9D12-964D9682514A}" srcOrd="0" destOrd="0" presId="urn:microsoft.com/office/officeart/2008/layout/VerticalCurvedList"/>
    <dgm:cxn modelId="{25859C0B-CA03-4B0B-B355-44BE3EDC46F3}" type="presParOf" srcId="{7A7EB14D-C022-4BC5-B085-DFA634827121}" destId="{56E52F00-BBFE-4A45-AAFE-BE259353943C}" srcOrd="5" destOrd="0" presId="urn:microsoft.com/office/officeart/2008/layout/VerticalCurvedList"/>
    <dgm:cxn modelId="{3C47E5E0-1F83-48B9-9010-A7DFD45723FF}" type="presParOf" srcId="{7A7EB14D-C022-4BC5-B085-DFA634827121}" destId="{4B9798B5-6BB1-4FEC-82F3-13DC6F1A928A}" srcOrd="6" destOrd="0" presId="urn:microsoft.com/office/officeart/2008/layout/VerticalCurvedList"/>
    <dgm:cxn modelId="{9B65239D-F042-4077-B32F-05EA76EBD2F2}" type="presParOf" srcId="{4B9798B5-6BB1-4FEC-82F3-13DC6F1A928A}" destId="{7C738C1C-C737-407C-BD98-4A2A76335A10}" srcOrd="0" destOrd="0" presId="urn:microsoft.com/office/officeart/2008/layout/VerticalCurvedList"/>
    <dgm:cxn modelId="{6F6AC8B2-293F-43F0-B530-01B28C481C99}" type="presParOf" srcId="{7A7EB14D-C022-4BC5-B085-DFA634827121}" destId="{C3703577-6949-4DEA-86D2-7C1A5634D688}" srcOrd="7" destOrd="0" presId="urn:microsoft.com/office/officeart/2008/layout/VerticalCurvedList"/>
    <dgm:cxn modelId="{57F1E1E7-CB8E-4A8E-949A-19AFD3791657}" type="presParOf" srcId="{7A7EB14D-C022-4BC5-B085-DFA634827121}" destId="{3004AD7A-ABCF-4D02-A175-AFE4255974D2}" srcOrd="8" destOrd="0" presId="urn:microsoft.com/office/officeart/2008/layout/VerticalCurvedList"/>
    <dgm:cxn modelId="{1A7389CA-B01C-4024-9D91-444CFEE41F7D}" type="presParOf" srcId="{3004AD7A-ABCF-4D02-A175-AFE4255974D2}" destId="{CD070EC4-0545-48CF-9D05-A2D5EB82A552}" srcOrd="0" destOrd="0" presId="urn:microsoft.com/office/officeart/2008/layout/VerticalCurvedList"/>
    <dgm:cxn modelId="{775D4EB1-6D83-4C21-9616-70C09CB834ED}" type="presParOf" srcId="{7A7EB14D-C022-4BC5-B085-DFA634827121}" destId="{3A29B301-0016-43D6-B2B9-9516B1112A98}" srcOrd="9" destOrd="0" presId="urn:microsoft.com/office/officeart/2008/layout/VerticalCurvedList"/>
    <dgm:cxn modelId="{941B649F-1E52-4234-B21F-C8DE5E2C32AF}" type="presParOf" srcId="{7A7EB14D-C022-4BC5-B085-DFA634827121}" destId="{DCCCB0F8-C0C5-4005-A9CC-5E93D189A98D}" srcOrd="10" destOrd="0" presId="urn:microsoft.com/office/officeart/2008/layout/VerticalCurvedList"/>
    <dgm:cxn modelId="{FE95EDCB-6EC1-4370-A5CE-97636E23ED7D}" type="presParOf" srcId="{DCCCB0F8-C0C5-4005-A9CC-5E93D189A98D}" destId="{41A4B0ED-9887-44C5-8498-9E2FDDC9AA75}" srcOrd="0" destOrd="0" presId="urn:microsoft.com/office/officeart/2008/layout/VerticalCurvedList"/>
  </dgm:cxnLst>
  <dgm:bg/>
  <dgm:whole>
    <a:ln>
      <a:noFill/>
      <a:prstDash val="dashDot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6C1817C-F8B8-4D66-8DE6-E17D55B9CB42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DD509A3-2934-462D-9C6A-23D0C153269B}">
      <dgm:prSet phldrT="[Text]" custT="1"/>
      <dgm:spPr/>
      <dgm:t>
        <a:bodyPr/>
        <a:lstStyle/>
        <a:p>
          <a:r>
            <a:rPr lang="en-US" sz="1800" b="1" dirty="0"/>
            <a:t>Singtel Project Sponsor</a:t>
          </a:r>
        </a:p>
        <a:p>
          <a:r>
            <a:rPr lang="en-US" sz="1800" dirty="0"/>
            <a:t>Sandip, Yen</a:t>
          </a:r>
        </a:p>
      </dgm:t>
    </dgm:pt>
    <dgm:pt modelId="{3CD019FC-A6C9-435B-A04C-99F81F255527}" type="parTrans" cxnId="{AA713C5C-EC0C-4295-B990-152FE8E503B2}">
      <dgm:prSet/>
      <dgm:spPr/>
      <dgm:t>
        <a:bodyPr/>
        <a:lstStyle/>
        <a:p>
          <a:endParaRPr lang="en-US"/>
        </a:p>
      </dgm:t>
    </dgm:pt>
    <dgm:pt modelId="{FA6F1F81-E4C4-4A10-8E8F-1680AB384477}" type="sibTrans" cxnId="{AA713C5C-EC0C-4295-B990-152FE8E503B2}">
      <dgm:prSet/>
      <dgm:spPr/>
      <dgm:t>
        <a:bodyPr/>
        <a:lstStyle/>
        <a:p>
          <a:endParaRPr lang="en-US"/>
        </a:p>
      </dgm:t>
    </dgm:pt>
    <dgm:pt modelId="{8FF15C7F-E3A7-4044-932B-1C37E9B3A801}">
      <dgm:prSet phldrT="[Text]" custT="1"/>
      <dgm:spPr/>
      <dgm:t>
        <a:bodyPr/>
        <a:lstStyle/>
        <a:p>
          <a:r>
            <a:rPr lang="en-US" sz="1600" b="1" dirty="0"/>
            <a:t>Service Delivery Director</a:t>
          </a:r>
        </a:p>
        <a:p>
          <a:r>
            <a:rPr lang="en-US" sz="1600" dirty="0"/>
            <a:t>David Tan</a:t>
          </a:r>
        </a:p>
      </dgm:t>
    </dgm:pt>
    <dgm:pt modelId="{3C892575-F1DC-4F09-873D-359ADFAE3907}" type="parTrans" cxnId="{BA17B4E9-5226-4FA7-B3DB-CD2A1858C3C8}">
      <dgm:prSet/>
      <dgm:spPr/>
      <dgm:t>
        <a:bodyPr/>
        <a:lstStyle/>
        <a:p>
          <a:endParaRPr lang="en-US"/>
        </a:p>
      </dgm:t>
    </dgm:pt>
    <dgm:pt modelId="{F576E845-17AD-4ABA-A6EA-C5E5B82404E0}" type="sibTrans" cxnId="{BA17B4E9-5226-4FA7-B3DB-CD2A1858C3C8}">
      <dgm:prSet/>
      <dgm:spPr/>
      <dgm:t>
        <a:bodyPr/>
        <a:lstStyle/>
        <a:p>
          <a:endParaRPr lang="en-US"/>
        </a:p>
      </dgm:t>
    </dgm:pt>
    <dgm:pt modelId="{6A2DD640-D358-45B3-8B73-42427C1B678B}">
      <dgm:prSet phldrT="[Text]" custT="1"/>
      <dgm:spPr/>
      <dgm:t>
        <a:bodyPr/>
        <a:lstStyle/>
        <a:p>
          <a:r>
            <a:rPr lang="en-US" sz="1600" b="1" dirty="0"/>
            <a:t>Service Delivery Manager</a:t>
          </a:r>
        </a:p>
        <a:p>
          <a:r>
            <a:rPr lang="en-US" sz="1600" dirty="0"/>
            <a:t>Yeo Choon Siong</a:t>
          </a:r>
        </a:p>
      </dgm:t>
    </dgm:pt>
    <dgm:pt modelId="{8A91C2A4-9722-4526-8411-839ABD8C5590}" type="parTrans" cxnId="{C3F1C271-AE7B-4BE7-8FD0-B2602261FE35}">
      <dgm:prSet/>
      <dgm:spPr/>
      <dgm:t>
        <a:bodyPr/>
        <a:lstStyle/>
        <a:p>
          <a:endParaRPr lang="en-US"/>
        </a:p>
      </dgm:t>
    </dgm:pt>
    <dgm:pt modelId="{4104BB3A-D233-4BCF-A797-280F5BA06299}" type="sibTrans" cxnId="{C3F1C271-AE7B-4BE7-8FD0-B2602261FE35}">
      <dgm:prSet/>
      <dgm:spPr/>
      <dgm:t>
        <a:bodyPr/>
        <a:lstStyle/>
        <a:p>
          <a:endParaRPr lang="en-US"/>
        </a:p>
      </dgm:t>
    </dgm:pt>
    <dgm:pt modelId="{84B693CD-A74F-4F56-B073-3C309D3D22F7}">
      <dgm:prSet phldrT="[Text]" custT="1"/>
      <dgm:spPr/>
      <dgm:t>
        <a:bodyPr/>
        <a:lstStyle/>
        <a:p>
          <a:r>
            <a:rPr lang="en-US" sz="1800" b="1" dirty="0"/>
            <a:t>CapitaLand Project Sponsor</a:t>
          </a:r>
        </a:p>
        <a:p>
          <a:r>
            <a:rPr lang="en-US" sz="1800" dirty="0"/>
            <a:t>Mung </a:t>
          </a:r>
          <a:r>
            <a:rPr lang="en-US" sz="1800" dirty="0" err="1"/>
            <a:t>Hou</a:t>
          </a:r>
          <a:endParaRPr lang="en-US" sz="1800" dirty="0"/>
        </a:p>
      </dgm:t>
    </dgm:pt>
    <dgm:pt modelId="{0AEE687E-63C7-4599-AAB0-8A8769C3CDBF}" type="parTrans" cxnId="{5989ADB8-7F93-4F40-BE04-40211E35857B}">
      <dgm:prSet/>
      <dgm:spPr/>
      <dgm:t>
        <a:bodyPr/>
        <a:lstStyle/>
        <a:p>
          <a:endParaRPr lang="en-US"/>
        </a:p>
      </dgm:t>
    </dgm:pt>
    <dgm:pt modelId="{C1F072EE-1781-47F5-8878-55777482DB85}" type="sibTrans" cxnId="{5989ADB8-7F93-4F40-BE04-40211E35857B}">
      <dgm:prSet/>
      <dgm:spPr/>
      <dgm:t>
        <a:bodyPr/>
        <a:lstStyle/>
        <a:p>
          <a:endParaRPr lang="en-US"/>
        </a:p>
      </dgm:t>
    </dgm:pt>
    <dgm:pt modelId="{172CC3F3-EA99-4797-B0C3-04EDF68609C0}">
      <dgm:prSet phldrT="[Text]" custT="1"/>
      <dgm:spPr/>
      <dgm:t>
        <a:bodyPr/>
        <a:lstStyle/>
        <a:p>
          <a:r>
            <a:rPr lang="en-US" sz="1600" b="1" dirty="0"/>
            <a:t>EUC &amp; SD Management</a:t>
          </a:r>
        </a:p>
        <a:p>
          <a:r>
            <a:rPr lang="en-US" sz="1600" dirty="0"/>
            <a:t>Nicholas Too</a:t>
          </a:r>
        </a:p>
      </dgm:t>
    </dgm:pt>
    <dgm:pt modelId="{022AC4B0-4765-4002-8CA0-BADE3B8B6ADA}" type="parTrans" cxnId="{FABAB25E-EC46-413C-BCF9-33780CE5ED55}">
      <dgm:prSet/>
      <dgm:spPr/>
      <dgm:t>
        <a:bodyPr/>
        <a:lstStyle/>
        <a:p>
          <a:endParaRPr lang="en-US"/>
        </a:p>
      </dgm:t>
    </dgm:pt>
    <dgm:pt modelId="{139823B9-5D84-4FE8-AF8A-967C3DD5DF12}" type="sibTrans" cxnId="{FABAB25E-EC46-413C-BCF9-33780CE5ED55}">
      <dgm:prSet/>
      <dgm:spPr/>
      <dgm:t>
        <a:bodyPr/>
        <a:lstStyle/>
        <a:p>
          <a:endParaRPr lang="en-US"/>
        </a:p>
      </dgm:t>
    </dgm:pt>
    <dgm:pt modelId="{8A2F0F04-0814-46A5-8624-177F17BD5EF7}">
      <dgm:prSet phldrT="[Text]" custT="1"/>
      <dgm:spPr/>
      <dgm:t>
        <a:bodyPr/>
        <a:lstStyle/>
        <a:p>
          <a:r>
            <a:rPr lang="en-US" sz="1600" b="1" dirty="0"/>
            <a:t>Infra Management</a:t>
          </a:r>
        </a:p>
        <a:p>
          <a:r>
            <a:rPr lang="en-US" sz="1600" dirty="0"/>
            <a:t>Eric Wong</a:t>
          </a:r>
        </a:p>
      </dgm:t>
    </dgm:pt>
    <dgm:pt modelId="{EB5F2A32-1EF7-4A9F-A722-CB5503840544}" type="parTrans" cxnId="{2A81E3F9-120F-4B02-BD94-2480B99B1E74}">
      <dgm:prSet/>
      <dgm:spPr/>
      <dgm:t>
        <a:bodyPr/>
        <a:lstStyle/>
        <a:p>
          <a:endParaRPr lang="en-US"/>
        </a:p>
      </dgm:t>
    </dgm:pt>
    <dgm:pt modelId="{30106FB1-3F02-47D7-95EA-957FA61553BF}" type="sibTrans" cxnId="{2A81E3F9-120F-4B02-BD94-2480B99B1E74}">
      <dgm:prSet/>
      <dgm:spPr/>
      <dgm:t>
        <a:bodyPr/>
        <a:lstStyle/>
        <a:p>
          <a:endParaRPr lang="en-US"/>
        </a:p>
      </dgm:t>
    </dgm:pt>
    <dgm:pt modelId="{309DF96E-BF4D-435B-BEB6-8F093BD9333C}">
      <dgm:prSet phldrT="[Text]" custT="1"/>
      <dgm:spPr/>
      <dgm:t>
        <a:bodyPr/>
        <a:lstStyle/>
        <a:p>
          <a:r>
            <a:rPr lang="en-US" sz="1600" b="1" dirty="0"/>
            <a:t>Change Manager</a:t>
          </a:r>
          <a:br>
            <a:rPr lang="en-US" sz="1600" b="1" dirty="0"/>
          </a:br>
          <a:r>
            <a:rPr lang="en-US" sz="1600" b="0" dirty="0"/>
            <a:t>Paul Southern</a:t>
          </a:r>
        </a:p>
      </dgm:t>
    </dgm:pt>
    <dgm:pt modelId="{BE0CD3FC-6024-4ADB-B295-85F6CF918CFD}" type="parTrans" cxnId="{C8BAFA7E-3735-4B60-BDA8-8E74174F5690}">
      <dgm:prSet/>
      <dgm:spPr/>
      <dgm:t>
        <a:bodyPr/>
        <a:lstStyle/>
        <a:p>
          <a:endParaRPr lang="en-US"/>
        </a:p>
      </dgm:t>
    </dgm:pt>
    <dgm:pt modelId="{E680012E-44E7-43BA-8CD7-05C2673F193D}" type="sibTrans" cxnId="{C8BAFA7E-3735-4B60-BDA8-8E74174F5690}">
      <dgm:prSet/>
      <dgm:spPr/>
      <dgm:t>
        <a:bodyPr/>
        <a:lstStyle/>
        <a:p>
          <a:endParaRPr lang="en-US"/>
        </a:p>
      </dgm:t>
    </dgm:pt>
    <dgm:pt modelId="{4DFC3298-C285-4C48-92CE-C44D05973122}">
      <dgm:prSet phldrT="[Text]" custT="1"/>
      <dgm:spPr/>
      <dgm:t>
        <a:bodyPr/>
        <a:lstStyle/>
        <a:p>
          <a:r>
            <a:rPr lang="en-US" sz="1600" b="1" dirty="0"/>
            <a:t>Change Manager</a:t>
          </a:r>
          <a:br>
            <a:rPr lang="en-US" sz="1600" b="1" dirty="0"/>
          </a:br>
          <a:r>
            <a:rPr lang="en-US" sz="1600" b="0" dirty="0">
              <a:solidFill>
                <a:srgbClr val="FF0000"/>
              </a:solidFill>
            </a:rPr>
            <a:t>TBC</a:t>
          </a:r>
        </a:p>
      </dgm:t>
    </dgm:pt>
    <dgm:pt modelId="{C8203BBB-B75F-4016-B2AC-D89B470F99CC}" type="parTrans" cxnId="{BD745BD5-D437-44B0-AC34-82732A9BC914}">
      <dgm:prSet/>
      <dgm:spPr/>
      <dgm:t>
        <a:bodyPr/>
        <a:lstStyle/>
        <a:p>
          <a:endParaRPr lang="en-US"/>
        </a:p>
      </dgm:t>
    </dgm:pt>
    <dgm:pt modelId="{BA98BA37-B732-4D08-B3FC-4A990609D278}" type="sibTrans" cxnId="{BD745BD5-D437-44B0-AC34-82732A9BC914}">
      <dgm:prSet/>
      <dgm:spPr/>
      <dgm:t>
        <a:bodyPr/>
        <a:lstStyle/>
        <a:p>
          <a:endParaRPr lang="en-US"/>
        </a:p>
      </dgm:t>
    </dgm:pt>
    <dgm:pt modelId="{BE09EECB-1DCC-42F9-83E4-CD8D1160EF4F}" type="pres">
      <dgm:prSet presAssocID="{46C1817C-F8B8-4D66-8DE6-E17D55B9CB4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ABB4E17-B37B-4662-95E4-DFEAD80E54AC}" type="pres">
      <dgm:prSet presAssocID="{BDD509A3-2934-462D-9C6A-23D0C153269B}" presName="root" presStyleCnt="0"/>
      <dgm:spPr/>
    </dgm:pt>
    <dgm:pt modelId="{DF53D588-28A5-4EF6-B57C-85925944D3D5}" type="pres">
      <dgm:prSet presAssocID="{BDD509A3-2934-462D-9C6A-23D0C153269B}" presName="rootComposite" presStyleCnt="0"/>
      <dgm:spPr/>
    </dgm:pt>
    <dgm:pt modelId="{7F2069A4-6B58-4306-B396-A7E1A6A05EEE}" type="pres">
      <dgm:prSet presAssocID="{BDD509A3-2934-462D-9C6A-23D0C153269B}" presName="rootText" presStyleLbl="node1" presStyleIdx="0" presStyleCnt="2" custScaleX="73899" custScaleY="51345"/>
      <dgm:spPr/>
      <dgm:t>
        <a:bodyPr/>
        <a:lstStyle/>
        <a:p>
          <a:endParaRPr lang="en-US"/>
        </a:p>
      </dgm:t>
    </dgm:pt>
    <dgm:pt modelId="{DA1D3D85-3934-4195-B22A-5EA606E850D1}" type="pres">
      <dgm:prSet presAssocID="{BDD509A3-2934-462D-9C6A-23D0C153269B}" presName="rootConnector" presStyleLbl="node1" presStyleIdx="0" presStyleCnt="2"/>
      <dgm:spPr/>
      <dgm:t>
        <a:bodyPr/>
        <a:lstStyle/>
        <a:p>
          <a:endParaRPr lang="en-US"/>
        </a:p>
      </dgm:t>
    </dgm:pt>
    <dgm:pt modelId="{8303B7D0-BFD6-42EE-BA47-F7E5903EDA76}" type="pres">
      <dgm:prSet presAssocID="{BDD509A3-2934-462D-9C6A-23D0C153269B}" presName="childShape" presStyleCnt="0"/>
      <dgm:spPr/>
    </dgm:pt>
    <dgm:pt modelId="{B1B84E51-BED7-43E3-A338-5150DEBF9787}" type="pres">
      <dgm:prSet presAssocID="{3C892575-F1DC-4F09-873D-359ADFAE3907}" presName="Name13" presStyleLbl="parChTrans1D2" presStyleIdx="0" presStyleCnt="6"/>
      <dgm:spPr/>
      <dgm:t>
        <a:bodyPr/>
        <a:lstStyle/>
        <a:p>
          <a:endParaRPr lang="en-US"/>
        </a:p>
      </dgm:t>
    </dgm:pt>
    <dgm:pt modelId="{EAB9A884-F003-4DB3-BF43-7F0C9B8F8654}" type="pres">
      <dgm:prSet presAssocID="{8FF15C7F-E3A7-4044-932B-1C37E9B3A801}" presName="childText" presStyleLbl="bgAcc1" presStyleIdx="0" presStyleCnt="6" custScaleX="73899" custScaleY="51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D5A129-D4CF-4F0B-9E0A-6B6BE7FBF1EB}" type="pres">
      <dgm:prSet presAssocID="{8A91C2A4-9722-4526-8411-839ABD8C5590}" presName="Name13" presStyleLbl="parChTrans1D2" presStyleIdx="1" presStyleCnt="6"/>
      <dgm:spPr/>
      <dgm:t>
        <a:bodyPr/>
        <a:lstStyle/>
        <a:p>
          <a:endParaRPr lang="en-US"/>
        </a:p>
      </dgm:t>
    </dgm:pt>
    <dgm:pt modelId="{1140315B-15CA-4470-B9DB-E991ECD48B57}" type="pres">
      <dgm:prSet presAssocID="{6A2DD640-D358-45B3-8B73-42427C1B678B}" presName="childText" presStyleLbl="bgAcc1" presStyleIdx="1" presStyleCnt="6" custScaleX="73899" custScaleY="51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9E6E5E-523F-4BEF-9CC8-0AE5BD081A64}" type="pres">
      <dgm:prSet presAssocID="{BE0CD3FC-6024-4ADB-B295-85F6CF918CFD}" presName="Name13" presStyleLbl="parChTrans1D2" presStyleIdx="2" presStyleCnt="6"/>
      <dgm:spPr/>
      <dgm:t>
        <a:bodyPr/>
        <a:lstStyle/>
        <a:p>
          <a:endParaRPr lang="en-US"/>
        </a:p>
      </dgm:t>
    </dgm:pt>
    <dgm:pt modelId="{97F93A92-F0C0-4E67-9904-FE99D6657E2A}" type="pres">
      <dgm:prSet presAssocID="{309DF96E-BF4D-435B-BEB6-8F093BD9333C}" presName="childText" presStyleLbl="bgAcc1" presStyleIdx="2" presStyleCnt="6" custScaleX="73899" custScaleY="51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AB8998-1679-4546-B438-44306F094534}" type="pres">
      <dgm:prSet presAssocID="{84B693CD-A74F-4F56-B073-3C309D3D22F7}" presName="root" presStyleCnt="0"/>
      <dgm:spPr/>
    </dgm:pt>
    <dgm:pt modelId="{9AF47E86-5082-42B3-A28E-BAD9749A3919}" type="pres">
      <dgm:prSet presAssocID="{84B693CD-A74F-4F56-B073-3C309D3D22F7}" presName="rootComposite" presStyleCnt="0"/>
      <dgm:spPr/>
    </dgm:pt>
    <dgm:pt modelId="{DD91284C-3AFE-4368-AB15-37A1AB93265C}" type="pres">
      <dgm:prSet presAssocID="{84B693CD-A74F-4F56-B073-3C309D3D22F7}" presName="rootText" presStyleLbl="node1" presStyleIdx="1" presStyleCnt="2" custScaleX="73899" custScaleY="51345"/>
      <dgm:spPr/>
      <dgm:t>
        <a:bodyPr/>
        <a:lstStyle/>
        <a:p>
          <a:endParaRPr lang="en-US"/>
        </a:p>
      </dgm:t>
    </dgm:pt>
    <dgm:pt modelId="{DE5505F3-1282-45FE-8EC2-D0A1641AD49C}" type="pres">
      <dgm:prSet presAssocID="{84B693CD-A74F-4F56-B073-3C309D3D22F7}" presName="rootConnector" presStyleLbl="node1" presStyleIdx="1" presStyleCnt="2"/>
      <dgm:spPr/>
      <dgm:t>
        <a:bodyPr/>
        <a:lstStyle/>
        <a:p>
          <a:endParaRPr lang="en-US"/>
        </a:p>
      </dgm:t>
    </dgm:pt>
    <dgm:pt modelId="{7BF17AAC-33D9-40EB-89A6-E6D9496C7C92}" type="pres">
      <dgm:prSet presAssocID="{84B693CD-A74F-4F56-B073-3C309D3D22F7}" presName="childShape" presStyleCnt="0"/>
      <dgm:spPr/>
    </dgm:pt>
    <dgm:pt modelId="{7C74DECD-88BE-4DF1-87C1-AAD31EAF6460}" type="pres">
      <dgm:prSet presAssocID="{022AC4B0-4765-4002-8CA0-BADE3B8B6ADA}" presName="Name13" presStyleLbl="parChTrans1D2" presStyleIdx="3" presStyleCnt="6"/>
      <dgm:spPr/>
      <dgm:t>
        <a:bodyPr/>
        <a:lstStyle/>
        <a:p>
          <a:endParaRPr lang="en-US"/>
        </a:p>
      </dgm:t>
    </dgm:pt>
    <dgm:pt modelId="{22CA5C4B-6300-42BE-97C8-FC7C1CD25FD4}" type="pres">
      <dgm:prSet presAssocID="{172CC3F3-EA99-4797-B0C3-04EDF68609C0}" presName="childText" presStyleLbl="bgAcc1" presStyleIdx="3" presStyleCnt="6" custScaleX="73899" custScaleY="51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9C710C-5E08-486E-B905-47BB5A508525}" type="pres">
      <dgm:prSet presAssocID="{EB5F2A32-1EF7-4A9F-A722-CB5503840544}" presName="Name13" presStyleLbl="parChTrans1D2" presStyleIdx="4" presStyleCnt="6"/>
      <dgm:spPr/>
      <dgm:t>
        <a:bodyPr/>
        <a:lstStyle/>
        <a:p>
          <a:endParaRPr lang="en-US"/>
        </a:p>
      </dgm:t>
    </dgm:pt>
    <dgm:pt modelId="{79C37BFB-97BF-4137-A293-F7F104646444}" type="pres">
      <dgm:prSet presAssocID="{8A2F0F04-0814-46A5-8624-177F17BD5EF7}" presName="childText" presStyleLbl="bgAcc1" presStyleIdx="4" presStyleCnt="6" custScaleX="73899" custScaleY="51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FA18EB-7D46-4660-BD20-CC1DA337E8E5}" type="pres">
      <dgm:prSet presAssocID="{C8203BBB-B75F-4016-B2AC-D89B470F99CC}" presName="Name13" presStyleLbl="parChTrans1D2" presStyleIdx="5" presStyleCnt="6"/>
      <dgm:spPr/>
      <dgm:t>
        <a:bodyPr/>
        <a:lstStyle/>
        <a:p>
          <a:endParaRPr lang="en-US"/>
        </a:p>
      </dgm:t>
    </dgm:pt>
    <dgm:pt modelId="{548872F9-4BFF-445B-84DF-309F7C06F508}" type="pres">
      <dgm:prSet presAssocID="{4DFC3298-C285-4C48-92CE-C44D05973122}" presName="childText" presStyleLbl="bgAcc1" presStyleIdx="5" presStyleCnt="6" custScaleX="73899" custScaleY="51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E268AB9-9156-45CC-9D8D-42303239AD52}" type="presOf" srcId="{8FF15C7F-E3A7-4044-932B-1C37E9B3A801}" destId="{EAB9A884-F003-4DB3-BF43-7F0C9B8F8654}" srcOrd="0" destOrd="0" presId="urn:microsoft.com/office/officeart/2005/8/layout/hierarchy3"/>
    <dgm:cxn modelId="{5B976508-7D45-40A9-809B-A4C1930420B8}" type="presOf" srcId="{C8203BBB-B75F-4016-B2AC-D89B470F99CC}" destId="{FFFA18EB-7D46-4660-BD20-CC1DA337E8E5}" srcOrd="0" destOrd="0" presId="urn:microsoft.com/office/officeart/2005/8/layout/hierarchy3"/>
    <dgm:cxn modelId="{45D92DE5-FF3F-4F1E-8F3C-0ED1EB1255D8}" type="presOf" srcId="{BDD509A3-2934-462D-9C6A-23D0C153269B}" destId="{DA1D3D85-3934-4195-B22A-5EA606E850D1}" srcOrd="1" destOrd="0" presId="urn:microsoft.com/office/officeart/2005/8/layout/hierarchy3"/>
    <dgm:cxn modelId="{42BE5E10-BE98-4D2B-89D0-0E452B461C3B}" type="presOf" srcId="{172CC3F3-EA99-4797-B0C3-04EDF68609C0}" destId="{22CA5C4B-6300-42BE-97C8-FC7C1CD25FD4}" srcOrd="0" destOrd="0" presId="urn:microsoft.com/office/officeart/2005/8/layout/hierarchy3"/>
    <dgm:cxn modelId="{7843E3C4-E234-4E54-95D1-BC90D089DF39}" type="presOf" srcId="{84B693CD-A74F-4F56-B073-3C309D3D22F7}" destId="{DE5505F3-1282-45FE-8EC2-D0A1641AD49C}" srcOrd="1" destOrd="0" presId="urn:microsoft.com/office/officeart/2005/8/layout/hierarchy3"/>
    <dgm:cxn modelId="{3805D202-823A-4D07-BC7F-2F74690CF044}" type="presOf" srcId="{309DF96E-BF4D-435B-BEB6-8F093BD9333C}" destId="{97F93A92-F0C0-4E67-9904-FE99D6657E2A}" srcOrd="0" destOrd="0" presId="urn:microsoft.com/office/officeart/2005/8/layout/hierarchy3"/>
    <dgm:cxn modelId="{BA17B4E9-5226-4FA7-B3DB-CD2A1858C3C8}" srcId="{BDD509A3-2934-462D-9C6A-23D0C153269B}" destId="{8FF15C7F-E3A7-4044-932B-1C37E9B3A801}" srcOrd="0" destOrd="0" parTransId="{3C892575-F1DC-4F09-873D-359ADFAE3907}" sibTransId="{F576E845-17AD-4ABA-A6EA-C5E5B82404E0}"/>
    <dgm:cxn modelId="{FABAB25E-EC46-413C-BCF9-33780CE5ED55}" srcId="{84B693CD-A74F-4F56-B073-3C309D3D22F7}" destId="{172CC3F3-EA99-4797-B0C3-04EDF68609C0}" srcOrd="0" destOrd="0" parTransId="{022AC4B0-4765-4002-8CA0-BADE3B8B6ADA}" sibTransId="{139823B9-5D84-4FE8-AF8A-967C3DD5DF12}"/>
    <dgm:cxn modelId="{AA713C5C-EC0C-4295-B990-152FE8E503B2}" srcId="{46C1817C-F8B8-4D66-8DE6-E17D55B9CB42}" destId="{BDD509A3-2934-462D-9C6A-23D0C153269B}" srcOrd="0" destOrd="0" parTransId="{3CD019FC-A6C9-435B-A04C-99F81F255527}" sibTransId="{FA6F1F81-E4C4-4A10-8E8F-1680AB384477}"/>
    <dgm:cxn modelId="{57682374-BE11-4779-BCD5-6D1DD6A78C16}" type="presOf" srcId="{84B693CD-A74F-4F56-B073-3C309D3D22F7}" destId="{DD91284C-3AFE-4368-AB15-37A1AB93265C}" srcOrd="0" destOrd="0" presId="urn:microsoft.com/office/officeart/2005/8/layout/hierarchy3"/>
    <dgm:cxn modelId="{BD745BD5-D437-44B0-AC34-82732A9BC914}" srcId="{84B693CD-A74F-4F56-B073-3C309D3D22F7}" destId="{4DFC3298-C285-4C48-92CE-C44D05973122}" srcOrd="2" destOrd="0" parTransId="{C8203BBB-B75F-4016-B2AC-D89B470F99CC}" sibTransId="{BA98BA37-B732-4D08-B3FC-4A990609D278}"/>
    <dgm:cxn modelId="{C8BAFA7E-3735-4B60-BDA8-8E74174F5690}" srcId="{BDD509A3-2934-462D-9C6A-23D0C153269B}" destId="{309DF96E-BF4D-435B-BEB6-8F093BD9333C}" srcOrd="2" destOrd="0" parTransId="{BE0CD3FC-6024-4ADB-B295-85F6CF918CFD}" sibTransId="{E680012E-44E7-43BA-8CD7-05C2673F193D}"/>
    <dgm:cxn modelId="{DE182ABB-6F6F-44E7-84E9-0012AF2DF344}" type="presOf" srcId="{8A91C2A4-9722-4526-8411-839ABD8C5590}" destId="{2FD5A129-D4CF-4F0B-9E0A-6B6BE7FBF1EB}" srcOrd="0" destOrd="0" presId="urn:microsoft.com/office/officeart/2005/8/layout/hierarchy3"/>
    <dgm:cxn modelId="{26283267-3316-4AA0-8021-1D239A10588C}" type="presOf" srcId="{EB5F2A32-1EF7-4A9F-A722-CB5503840544}" destId="{D89C710C-5E08-486E-B905-47BB5A508525}" srcOrd="0" destOrd="0" presId="urn:microsoft.com/office/officeart/2005/8/layout/hierarchy3"/>
    <dgm:cxn modelId="{96EEE1BD-1B92-430B-9C34-3F62A1084519}" type="presOf" srcId="{BE0CD3FC-6024-4ADB-B295-85F6CF918CFD}" destId="{F09E6E5E-523F-4BEF-9CC8-0AE5BD081A64}" srcOrd="0" destOrd="0" presId="urn:microsoft.com/office/officeart/2005/8/layout/hierarchy3"/>
    <dgm:cxn modelId="{C7785DB9-4559-4839-981A-8F54647C0453}" type="presOf" srcId="{BDD509A3-2934-462D-9C6A-23D0C153269B}" destId="{7F2069A4-6B58-4306-B396-A7E1A6A05EEE}" srcOrd="0" destOrd="0" presId="urn:microsoft.com/office/officeart/2005/8/layout/hierarchy3"/>
    <dgm:cxn modelId="{C3F1C271-AE7B-4BE7-8FD0-B2602261FE35}" srcId="{BDD509A3-2934-462D-9C6A-23D0C153269B}" destId="{6A2DD640-D358-45B3-8B73-42427C1B678B}" srcOrd="1" destOrd="0" parTransId="{8A91C2A4-9722-4526-8411-839ABD8C5590}" sibTransId="{4104BB3A-D233-4BCF-A797-280F5BA06299}"/>
    <dgm:cxn modelId="{03036EF5-59E6-4937-8CFD-CF10EA59F92B}" type="presOf" srcId="{3C892575-F1DC-4F09-873D-359ADFAE3907}" destId="{B1B84E51-BED7-43E3-A338-5150DEBF9787}" srcOrd="0" destOrd="0" presId="urn:microsoft.com/office/officeart/2005/8/layout/hierarchy3"/>
    <dgm:cxn modelId="{6651C5FF-DA47-4F97-8306-74CF3270BF05}" type="presOf" srcId="{4DFC3298-C285-4C48-92CE-C44D05973122}" destId="{548872F9-4BFF-445B-84DF-309F7C06F508}" srcOrd="0" destOrd="0" presId="urn:microsoft.com/office/officeart/2005/8/layout/hierarchy3"/>
    <dgm:cxn modelId="{2A81E3F9-120F-4B02-BD94-2480B99B1E74}" srcId="{84B693CD-A74F-4F56-B073-3C309D3D22F7}" destId="{8A2F0F04-0814-46A5-8624-177F17BD5EF7}" srcOrd="1" destOrd="0" parTransId="{EB5F2A32-1EF7-4A9F-A722-CB5503840544}" sibTransId="{30106FB1-3F02-47D7-95EA-957FA61553BF}"/>
    <dgm:cxn modelId="{5989ADB8-7F93-4F40-BE04-40211E35857B}" srcId="{46C1817C-F8B8-4D66-8DE6-E17D55B9CB42}" destId="{84B693CD-A74F-4F56-B073-3C309D3D22F7}" srcOrd="1" destOrd="0" parTransId="{0AEE687E-63C7-4599-AAB0-8A8769C3CDBF}" sibTransId="{C1F072EE-1781-47F5-8878-55777482DB85}"/>
    <dgm:cxn modelId="{DBDA9760-A7D8-4DC1-BB70-D5D074D52996}" type="presOf" srcId="{8A2F0F04-0814-46A5-8624-177F17BD5EF7}" destId="{79C37BFB-97BF-4137-A293-F7F104646444}" srcOrd="0" destOrd="0" presId="urn:microsoft.com/office/officeart/2005/8/layout/hierarchy3"/>
    <dgm:cxn modelId="{79AB730F-D207-46AE-893C-CB92F6BFA836}" type="presOf" srcId="{022AC4B0-4765-4002-8CA0-BADE3B8B6ADA}" destId="{7C74DECD-88BE-4DF1-87C1-AAD31EAF6460}" srcOrd="0" destOrd="0" presId="urn:microsoft.com/office/officeart/2005/8/layout/hierarchy3"/>
    <dgm:cxn modelId="{3520DA5B-880C-4D14-88A5-E7C5707F7C6F}" type="presOf" srcId="{6A2DD640-D358-45B3-8B73-42427C1B678B}" destId="{1140315B-15CA-4470-B9DB-E991ECD48B57}" srcOrd="0" destOrd="0" presId="urn:microsoft.com/office/officeart/2005/8/layout/hierarchy3"/>
    <dgm:cxn modelId="{422A7B7E-E443-4307-A290-15EC0BCA1674}" type="presOf" srcId="{46C1817C-F8B8-4D66-8DE6-E17D55B9CB42}" destId="{BE09EECB-1DCC-42F9-83E4-CD8D1160EF4F}" srcOrd="0" destOrd="0" presId="urn:microsoft.com/office/officeart/2005/8/layout/hierarchy3"/>
    <dgm:cxn modelId="{2969FE3C-2A99-4730-86E2-44010544FEB7}" type="presParOf" srcId="{BE09EECB-1DCC-42F9-83E4-CD8D1160EF4F}" destId="{5ABB4E17-B37B-4662-95E4-DFEAD80E54AC}" srcOrd="0" destOrd="0" presId="urn:microsoft.com/office/officeart/2005/8/layout/hierarchy3"/>
    <dgm:cxn modelId="{C2D379BE-F5A8-4D38-8559-AD72F1E156E7}" type="presParOf" srcId="{5ABB4E17-B37B-4662-95E4-DFEAD80E54AC}" destId="{DF53D588-28A5-4EF6-B57C-85925944D3D5}" srcOrd="0" destOrd="0" presId="urn:microsoft.com/office/officeart/2005/8/layout/hierarchy3"/>
    <dgm:cxn modelId="{7D266609-C329-4FB2-A7C2-6B2FB7254F00}" type="presParOf" srcId="{DF53D588-28A5-4EF6-B57C-85925944D3D5}" destId="{7F2069A4-6B58-4306-B396-A7E1A6A05EEE}" srcOrd="0" destOrd="0" presId="urn:microsoft.com/office/officeart/2005/8/layout/hierarchy3"/>
    <dgm:cxn modelId="{1B8F2A01-98B0-429B-BBAA-80E4D7DFE98B}" type="presParOf" srcId="{DF53D588-28A5-4EF6-B57C-85925944D3D5}" destId="{DA1D3D85-3934-4195-B22A-5EA606E850D1}" srcOrd="1" destOrd="0" presId="urn:microsoft.com/office/officeart/2005/8/layout/hierarchy3"/>
    <dgm:cxn modelId="{D74BCA45-8E5A-401D-BD26-1D0BED8F4062}" type="presParOf" srcId="{5ABB4E17-B37B-4662-95E4-DFEAD80E54AC}" destId="{8303B7D0-BFD6-42EE-BA47-F7E5903EDA76}" srcOrd="1" destOrd="0" presId="urn:microsoft.com/office/officeart/2005/8/layout/hierarchy3"/>
    <dgm:cxn modelId="{D9562301-92FA-4CBF-8018-28AA104543C7}" type="presParOf" srcId="{8303B7D0-BFD6-42EE-BA47-F7E5903EDA76}" destId="{B1B84E51-BED7-43E3-A338-5150DEBF9787}" srcOrd="0" destOrd="0" presId="urn:microsoft.com/office/officeart/2005/8/layout/hierarchy3"/>
    <dgm:cxn modelId="{94046AE1-73B3-46EE-9F6C-4F9186111470}" type="presParOf" srcId="{8303B7D0-BFD6-42EE-BA47-F7E5903EDA76}" destId="{EAB9A884-F003-4DB3-BF43-7F0C9B8F8654}" srcOrd="1" destOrd="0" presId="urn:microsoft.com/office/officeart/2005/8/layout/hierarchy3"/>
    <dgm:cxn modelId="{1348801A-4BBA-4067-933C-D6633D5D313F}" type="presParOf" srcId="{8303B7D0-BFD6-42EE-BA47-F7E5903EDA76}" destId="{2FD5A129-D4CF-4F0B-9E0A-6B6BE7FBF1EB}" srcOrd="2" destOrd="0" presId="urn:microsoft.com/office/officeart/2005/8/layout/hierarchy3"/>
    <dgm:cxn modelId="{47920400-3DE2-4348-A03F-4D6FE720D26F}" type="presParOf" srcId="{8303B7D0-BFD6-42EE-BA47-F7E5903EDA76}" destId="{1140315B-15CA-4470-B9DB-E991ECD48B57}" srcOrd="3" destOrd="0" presId="urn:microsoft.com/office/officeart/2005/8/layout/hierarchy3"/>
    <dgm:cxn modelId="{437BEC32-FFD9-431A-B139-5CE295668AC9}" type="presParOf" srcId="{8303B7D0-BFD6-42EE-BA47-F7E5903EDA76}" destId="{F09E6E5E-523F-4BEF-9CC8-0AE5BD081A64}" srcOrd="4" destOrd="0" presId="urn:microsoft.com/office/officeart/2005/8/layout/hierarchy3"/>
    <dgm:cxn modelId="{2B7577EA-E266-4369-BEE0-5CF93E285391}" type="presParOf" srcId="{8303B7D0-BFD6-42EE-BA47-F7E5903EDA76}" destId="{97F93A92-F0C0-4E67-9904-FE99D6657E2A}" srcOrd="5" destOrd="0" presId="urn:microsoft.com/office/officeart/2005/8/layout/hierarchy3"/>
    <dgm:cxn modelId="{3D34C239-565B-4B92-AE49-271AB10BE0D9}" type="presParOf" srcId="{BE09EECB-1DCC-42F9-83E4-CD8D1160EF4F}" destId="{6DAB8998-1679-4546-B438-44306F094534}" srcOrd="1" destOrd="0" presId="urn:microsoft.com/office/officeart/2005/8/layout/hierarchy3"/>
    <dgm:cxn modelId="{CE759BCC-BE12-4E9B-88FB-9F0B60055991}" type="presParOf" srcId="{6DAB8998-1679-4546-B438-44306F094534}" destId="{9AF47E86-5082-42B3-A28E-BAD9749A3919}" srcOrd="0" destOrd="0" presId="urn:microsoft.com/office/officeart/2005/8/layout/hierarchy3"/>
    <dgm:cxn modelId="{808D4A79-F43E-4AF3-B6E8-A5C90FC2CF22}" type="presParOf" srcId="{9AF47E86-5082-42B3-A28E-BAD9749A3919}" destId="{DD91284C-3AFE-4368-AB15-37A1AB93265C}" srcOrd="0" destOrd="0" presId="urn:microsoft.com/office/officeart/2005/8/layout/hierarchy3"/>
    <dgm:cxn modelId="{6FAD9D24-3A49-44BF-B2F3-12410D14C22F}" type="presParOf" srcId="{9AF47E86-5082-42B3-A28E-BAD9749A3919}" destId="{DE5505F3-1282-45FE-8EC2-D0A1641AD49C}" srcOrd="1" destOrd="0" presId="urn:microsoft.com/office/officeart/2005/8/layout/hierarchy3"/>
    <dgm:cxn modelId="{4C36191B-BEE6-407F-8AAE-DFE5E280CCE7}" type="presParOf" srcId="{6DAB8998-1679-4546-B438-44306F094534}" destId="{7BF17AAC-33D9-40EB-89A6-E6D9496C7C92}" srcOrd="1" destOrd="0" presId="urn:microsoft.com/office/officeart/2005/8/layout/hierarchy3"/>
    <dgm:cxn modelId="{11F5EA1D-87E4-4BA3-8225-5D3C6AE569A7}" type="presParOf" srcId="{7BF17AAC-33D9-40EB-89A6-E6D9496C7C92}" destId="{7C74DECD-88BE-4DF1-87C1-AAD31EAF6460}" srcOrd="0" destOrd="0" presId="urn:microsoft.com/office/officeart/2005/8/layout/hierarchy3"/>
    <dgm:cxn modelId="{3D36B25B-9921-45B1-811F-3ADB0B35A947}" type="presParOf" srcId="{7BF17AAC-33D9-40EB-89A6-E6D9496C7C92}" destId="{22CA5C4B-6300-42BE-97C8-FC7C1CD25FD4}" srcOrd="1" destOrd="0" presId="urn:microsoft.com/office/officeart/2005/8/layout/hierarchy3"/>
    <dgm:cxn modelId="{EF00571C-B7BE-4D5D-ACFA-BAF293A0ECA4}" type="presParOf" srcId="{7BF17AAC-33D9-40EB-89A6-E6D9496C7C92}" destId="{D89C710C-5E08-486E-B905-47BB5A508525}" srcOrd="2" destOrd="0" presId="urn:microsoft.com/office/officeart/2005/8/layout/hierarchy3"/>
    <dgm:cxn modelId="{AA64B895-FB8E-4253-B9C6-28C484124F10}" type="presParOf" srcId="{7BF17AAC-33D9-40EB-89A6-E6D9496C7C92}" destId="{79C37BFB-97BF-4137-A293-F7F104646444}" srcOrd="3" destOrd="0" presId="urn:microsoft.com/office/officeart/2005/8/layout/hierarchy3"/>
    <dgm:cxn modelId="{5EB38372-8BED-4CB5-822C-6779F6C61F85}" type="presParOf" srcId="{7BF17AAC-33D9-40EB-89A6-E6D9496C7C92}" destId="{FFFA18EB-7D46-4660-BD20-CC1DA337E8E5}" srcOrd="4" destOrd="0" presId="urn:microsoft.com/office/officeart/2005/8/layout/hierarchy3"/>
    <dgm:cxn modelId="{F4520209-25FF-43A2-9EDD-82C734B61635}" type="presParOf" srcId="{7BF17AAC-33D9-40EB-89A6-E6D9496C7C92}" destId="{548872F9-4BFF-445B-84DF-309F7C06F508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DD56728-C2D2-4B7B-ABF8-CCD9E74E3371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4731671-5836-4401-A5A5-CEED465700AE}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Service Delivery Director</a:t>
          </a:r>
        </a:p>
      </dgm:t>
    </dgm:pt>
    <dgm:pt modelId="{0CA82232-13F2-4F92-8DA5-8C24E4AA5A1C}" type="parTrans" cxnId="{DA27B4EB-27F7-4DE2-B9AE-A3DB47065C10}">
      <dgm:prSet/>
      <dgm:spPr/>
      <dgm:t>
        <a:bodyPr/>
        <a:lstStyle/>
        <a:p>
          <a:endParaRPr lang="en-US"/>
        </a:p>
      </dgm:t>
    </dgm:pt>
    <dgm:pt modelId="{27601B57-477A-47F0-9AFB-3601C3888607}" type="sibTrans" cxnId="{DA27B4EB-27F7-4DE2-B9AE-A3DB47065C10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David Tan</a:t>
          </a:r>
        </a:p>
      </dgm:t>
    </dgm:pt>
    <dgm:pt modelId="{4725DA50-8393-45CD-9969-B6F825AF7F19}" type="asst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ITIL Advisor</a:t>
          </a:r>
        </a:p>
      </dgm:t>
    </dgm:pt>
    <dgm:pt modelId="{9878D5A0-5143-4A24-A81F-4D61E3744A06}" type="parTrans" cxnId="{8E1775EC-FEDF-494E-9958-52D2915173F0}">
      <dgm:prSet/>
      <dgm:spPr/>
      <dgm:t>
        <a:bodyPr/>
        <a:lstStyle/>
        <a:p>
          <a:endParaRPr lang="en-US"/>
        </a:p>
      </dgm:t>
    </dgm:pt>
    <dgm:pt modelId="{C94FF4AB-F793-48D8-93EB-03403DD087D6}" type="sibTrans" cxnId="{8E1775EC-FEDF-494E-9958-52D2915173F0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TBC</a:t>
          </a:r>
        </a:p>
      </dgm:t>
    </dgm:pt>
    <dgm:pt modelId="{EEBE0D55-0D4A-4CAC-B4E9-D9BD33210D2A}">
      <dgm:prSet phldrT="[Text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200" b="1" dirty="0">
              <a:latin typeface="Arial" panose="020B0604020202020204" pitchFamily="34" charset="0"/>
              <a:cs typeface="Arial" panose="020B0604020202020204" pitchFamily="34" charset="0"/>
            </a:rPr>
            <a:t>INFRA</a:t>
          </a:r>
        </a:p>
      </dgm:t>
    </dgm:pt>
    <dgm:pt modelId="{02CAB89B-03BF-4357-B044-1659896C4CD9}" type="parTrans" cxnId="{7FF82827-9BA6-4F01-8DE6-7132DE96325D}">
      <dgm:prSet/>
      <dgm:spPr/>
      <dgm:t>
        <a:bodyPr/>
        <a:lstStyle/>
        <a:p>
          <a:endParaRPr lang="en-US"/>
        </a:p>
      </dgm:t>
    </dgm:pt>
    <dgm:pt modelId="{437C7AA5-E0FB-4F07-92E3-2B2569F22323}" type="sibTrans" cxnId="{7FF82827-9BA6-4F01-8DE6-7132DE96325D}">
      <dgm:prSet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921F0F96-6D1D-4EFA-BE6C-751835EBEE9A}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Operation Manager (SG)</a:t>
          </a:r>
        </a:p>
      </dgm:t>
    </dgm:pt>
    <dgm:pt modelId="{F7603137-58AC-44EA-AB85-F4BEB6D4EDD1}" type="parTrans" cxnId="{E35A9224-0D40-4AFD-91FE-5D0298AB5F0C}">
      <dgm:prSet/>
      <dgm:spPr/>
      <dgm:t>
        <a:bodyPr/>
        <a:lstStyle/>
        <a:p>
          <a:endParaRPr lang="en-US"/>
        </a:p>
      </dgm:t>
    </dgm:pt>
    <dgm:pt modelId="{06D5F4F3-6812-418B-A170-6CB589DA0935}" type="sibTrans" cxnId="{E35A9224-0D40-4AFD-91FE-5D0298AB5F0C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David Wong</a:t>
          </a:r>
        </a:p>
      </dgm:t>
    </dgm:pt>
    <dgm:pt modelId="{F93DD4F7-29B9-485E-A933-6F24D61DF674}" type="asst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Service Delivery Manager</a:t>
          </a:r>
        </a:p>
      </dgm:t>
    </dgm:pt>
    <dgm:pt modelId="{41A05D3D-664B-4C90-B5FD-0521B7F5AE8E}" type="parTrans" cxnId="{BB23E805-9818-4A5F-9624-22651D0CD9D2}">
      <dgm:prSet/>
      <dgm:spPr/>
      <dgm:t>
        <a:bodyPr/>
        <a:lstStyle/>
        <a:p>
          <a:endParaRPr lang="en-US"/>
        </a:p>
      </dgm:t>
    </dgm:pt>
    <dgm:pt modelId="{109263FB-F812-443B-97FF-16223E6C61E9}" type="sibTrans" cxnId="{BB23E805-9818-4A5F-9624-22651D0CD9D2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CS Yeo</a:t>
          </a:r>
        </a:p>
      </dgm:t>
    </dgm:pt>
    <dgm:pt modelId="{B9C6DFD4-98B4-4163-A734-BF4A1A5C3696}">
      <dgm:prSet phldrT="[Text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200" b="1" dirty="0">
              <a:latin typeface="Arial" panose="020B0604020202020204" pitchFamily="34" charset="0"/>
              <a:cs typeface="Arial" panose="020B0604020202020204" pitchFamily="34" charset="0"/>
            </a:rPr>
            <a:t>EUC</a:t>
          </a:r>
        </a:p>
      </dgm:t>
    </dgm:pt>
    <dgm:pt modelId="{78924684-97E3-42DF-8317-363E71F7E8BF}" type="parTrans" cxnId="{9F0F2F82-F30F-40DA-91FB-5DAE202FBC87}">
      <dgm:prSet/>
      <dgm:spPr/>
      <dgm:t>
        <a:bodyPr/>
        <a:lstStyle/>
        <a:p>
          <a:endParaRPr lang="en-US"/>
        </a:p>
      </dgm:t>
    </dgm:pt>
    <dgm:pt modelId="{3AC6A46A-9FBE-4379-99A9-254E259E6CD9}" type="sibTrans" cxnId="{9F0F2F82-F30F-40DA-91FB-5DAE202FBC87}">
      <dgm:prSet/>
      <dgm:spPr>
        <a:noFill/>
        <a:ln>
          <a:noFill/>
        </a:ln>
      </dgm:spPr>
      <dgm:t>
        <a:bodyPr/>
        <a:lstStyle/>
        <a:p>
          <a:endParaRPr lang="en-US"/>
        </a:p>
      </dgm:t>
    </dgm:pt>
    <dgm:pt modelId="{0EEB061F-629B-41C6-A7C5-370313899BC7}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Operation Manager</a:t>
          </a:r>
        </a:p>
      </dgm:t>
    </dgm:pt>
    <dgm:pt modelId="{EA2160FB-28E5-4B3C-B6FE-8E4CA64EBEED}" type="parTrans" cxnId="{D130CFBF-62CF-4D7C-901D-D2022CE6054D}">
      <dgm:prSet/>
      <dgm:spPr/>
      <dgm:t>
        <a:bodyPr/>
        <a:lstStyle/>
        <a:p>
          <a:endParaRPr lang="en-US"/>
        </a:p>
      </dgm:t>
    </dgm:pt>
    <dgm:pt modelId="{7A493CF2-9859-46B4-90EE-7394EA2D3007}" type="sibTrans" cxnId="{D130CFBF-62CF-4D7C-901D-D2022CE6054D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Alphonsus. J</a:t>
          </a:r>
        </a:p>
      </dgm:t>
    </dgm:pt>
    <dgm:pt modelId="{B805A43A-9C13-42A5-9294-024AFE6C1F7C}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Service Desk Manager</a:t>
          </a:r>
        </a:p>
      </dgm:t>
    </dgm:pt>
    <dgm:pt modelId="{0EB9F02D-797B-4484-95E1-5351B71F926D}" type="parTrans" cxnId="{861F45B6-61AA-4286-BF68-951286A40C36}">
      <dgm:prSet/>
      <dgm:spPr/>
      <dgm:t>
        <a:bodyPr/>
        <a:lstStyle/>
        <a:p>
          <a:endParaRPr lang="en-US"/>
        </a:p>
      </dgm:t>
    </dgm:pt>
    <dgm:pt modelId="{B27B7161-5937-44DB-8EAE-F339E1F1FF04}" type="sibTrans" cxnId="{861F45B6-61AA-4286-BF68-951286A40C36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Wong Kar Wai</a:t>
          </a:r>
        </a:p>
      </dgm:t>
    </dgm:pt>
    <dgm:pt modelId="{3E61D64B-1AA5-4601-9576-9F40B7F6F109}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Process Manager</a:t>
          </a:r>
        </a:p>
      </dgm:t>
    </dgm:pt>
    <dgm:pt modelId="{797141F3-3857-41CA-81EE-3C9644C76ADD}" type="parTrans" cxnId="{5FFE51BD-6638-4E3D-ADDB-0776E2E21A19}">
      <dgm:prSet/>
      <dgm:spPr/>
      <dgm:t>
        <a:bodyPr/>
        <a:lstStyle/>
        <a:p>
          <a:endParaRPr lang="en-US"/>
        </a:p>
      </dgm:t>
    </dgm:pt>
    <dgm:pt modelId="{7386DEE9-86BE-4D6F-9D3D-BDA0B3423648}" type="sibTrans" cxnId="{5FFE51BD-6638-4E3D-ADDB-0776E2E21A19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James Tan</a:t>
          </a:r>
        </a:p>
      </dgm:t>
    </dgm:pt>
    <dgm:pt modelId="{EF5E1E76-ED66-4060-91D6-1E003B6F45BB}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EUC Manager</a:t>
          </a:r>
        </a:p>
      </dgm:t>
    </dgm:pt>
    <dgm:pt modelId="{43DAE309-415B-4739-B1F4-95D8060D2406}" type="parTrans" cxnId="{8069EEAB-2A54-4AD5-AE0E-D719080DF3EA}">
      <dgm:prSet/>
      <dgm:spPr/>
      <dgm:t>
        <a:bodyPr/>
        <a:lstStyle/>
        <a:p>
          <a:endParaRPr lang="en-US"/>
        </a:p>
      </dgm:t>
    </dgm:pt>
    <dgm:pt modelId="{1BC250C4-6FB1-4BE2-A94E-DBC03125552E}" type="sibTrans" cxnId="{8069EEAB-2A54-4AD5-AE0E-D719080DF3EA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Tristan Cheong</a:t>
          </a:r>
        </a:p>
      </dgm:t>
    </dgm:pt>
    <dgm:pt modelId="{E0B353A5-031B-43D9-92A4-E55945C0E331}" type="asst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Transition </a:t>
          </a:r>
        </a:p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Project Director</a:t>
          </a:r>
        </a:p>
      </dgm:t>
    </dgm:pt>
    <dgm:pt modelId="{DEE865E0-048D-4922-8D48-73CBCBC87C90}" type="sibTrans" cxnId="{D3E3D1FE-823A-4892-9FDC-95724CB89A45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Paul Southern</a:t>
          </a:r>
        </a:p>
      </dgm:t>
    </dgm:pt>
    <dgm:pt modelId="{1DA0CEA1-74F6-4898-A8E9-680A20238D22}" type="parTrans" cxnId="{D3E3D1FE-823A-4892-9FDC-95724CB89A45}">
      <dgm:prSet/>
      <dgm:spPr/>
      <dgm:t>
        <a:bodyPr/>
        <a:lstStyle/>
        <a:p>
          <a:endParaRPr lang="en-US"/>
        </a:p>
      </dgm:t>
    </dgm:pt>
    <dgm:pt modelId="{24CD3B81-7424-4E11-856F-9C5D3E78081A}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Operation Manager (CN)</a:t>
          </a:r>
        </a:p>
      </dgm:t>
    </dgm:pt>
    <dgm:pt modelId="{A8FEA7EB-5BDC-4D65-BB28-1D089570F4B4}" type="sibTrans" cxnId="{8BFCD0E9-C04A-4A0B-961A-E8E8EF12A602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TBC</a:t>
          </a:r>
        </a:p>
      </dgm:t>
    </dgm:pt>
    <dgm:pt modelId="{A42BE0AA-A3AD-4B92-9E2E-334648F02A34}" type="parTrans" cxnId="{8BFCD0E9-C04A-4A0B-961A-E8E8EF12A602}">
      <dgm:prSet/>
      <dgm:spPr/>
      <dgm:t>
        <a:bodyPr/>
        <a:lstStyle/>
        <a:p>
          <a:endParaRPr lang="en-US"/>
        </a:p>
      </dgm:t>
    </dgm:pt>
    <dgm:pt modelId="{6A18ACCE-444C-4AF7-8CAF-D6E2155F29E4}">
      <dgm:prSet phldrT="[Text]" custT="1"/>
      <dgm:spPr/>
      <dgm:t>
        <a:bodyPr/>
        <a:lstStyle/>
        <a:p>
          <a:r>
            <a:rPr lang="en-US" sz="1200" dirty="0">
              <a:latin typeface="Arial" panose="020B0604020202020204" pitchFamily="34" charset="0"/>
              <a:cs typeface="Arial" panose="020B0604020202020204" pitchFamily="34" charset="0"/>
            </a:rPr>
            <a:t>Technical Solution Manager</a:t>
          </a:r>
        </a:p>
      </dgm:t>
    </dgm:pt>
    <dgm:pt modelId="{CC75B549-E644-472C-AE8F-CD3C06D0C142}" type="sibTrans" cxnId="{F746F81C-171E-45BC-B157-0C9203B5EE49}">
      <dgm:prSet custT="1"/>
      <dgm:spPr/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Au Wai Yip</a:t>
          </a:r>
        </a:p>
      </dgm:t>
    </dgm:pt>
    <dgm:pt modelId="{10A23F83-3B9F-4FFC-B598-20C022C74B35}" type="parTrans" cxnId="{F746F81C-171E-45BC-B157-0C9203B5EE49}">
      <dgm:prSet/>
      <dgm:spPr/>
      <dgm:t>
        <a:bodyPr/>
        <a:lstStyle/>
        <a:p>
          <a:endParaRPr lang="en-US"/>
        </a:p>
      </dgm:t>
    </dgm:pt>
    <dgm:pt modelId="{54E62D9C-2715-4B59-ACAA-7FDEF8F0C96E}" type="pres">
      <dgm:prSet presAssocID="{8DD56728-C2D2-4B7B-ABF8-CCD9E74E337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A31F2950-5A3C-4D27-9DA4-E2FD5A91CF78}" type="pres">
      <dgm:prSet presAssocID="{54731671-5836-4401-A5A5-CEED465700AE}" presName="hierRoot1" presStyleCnt="0">
        <dgm:presLayoutVars>
          <dgm:hierBranch val="init"/>
        </dgm:presLayoutVars>
      </dgm:prSet>
      <dgm:spPr/>
    </dgm:pt>
    <dgm:pt modelId="{0DA52833-4783-4784-8376-E84128DDAC0E}" type="pres">
      <dgm:prSet presAssocID="{54731671-5836-4401-A5A5-CEED465700AE}" presName="rootComposite1" presStyleCnt="0"/>
      <dgm:spPr/>
    </dgm:pt>
    <dgm:pt modelId="{3686D93A-D1B4-4780-859C-E0C26612B90A}" type="pres">
      <dgm:prSet presAssocID="{54731671-5836-4401-A5A5-CEED465700AE}" presName="rootText1" presStyleLbl="node0" presStyleIdx="0" presStyleCnt="1" custScaleX="170439" custScaleY="118586" custLinFactNeighborX="-49364" custLinFactNeighborY="-5971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64911769-6F38-4FD6-BE18-E156EA17398F}" type="pres">
      <dgm:prSet presAssocID="{54731671-5836-4401-A5A5-CEED465700AE}" presName="titleText1" presStyleLbl="fgAcc0" presStyleIdx="0" presStyleCnt="1" custScaleY="144134" custLinFactNeighborX="-19835" custLinFactNeighborY="14849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E10C471-7941-4EAB-BA30-0D47E4C939D7}" type="pres">
      <dgm:prSet presAssocID="{54731671-5836-4401-A5A5-CEED465700AE}" presName="rootConnector1" presStyleLbl="node1" presStyleIdx="0" presStyleCnt="9"/>
      <dgm:spPr/>
      <dgm:t>
        <a:bodyPr/>
        <a:lstStyle/>
        <a:p>
          <a:endParaRPr lang="en-US"/>
        </a:p>
      </dgm:t>
    </dgm:pt>
    <dgm:pt modelId="{81B2B448-8FAB-4161-AD8C-8C6734C21705}" type="pres">
      <dgm:prSet presAssocID="{54731671-5836-4401-A5A5-CEED465700AE}" presName="hierChild2" presStyleCnt="0"/>
      <dgm:spPr/>
    </dgm:pt>
    <dgm:pt modelId="{C35D4B44-1DB3-4918-89E9-EE1861171FE4}" type="pres">
      <dgm:prSet presAssocID="{797141F3-3857-41CA-81EE-3C9644C76ADD}" presName="Name37" presStyleLbl="parChTrans1D2" presStyleIdx="0" presStyleCnt="7"/>
      <dgm:spPr/>
      <dgm:t>
        <a:bodyPr/>
        <a:lstStyle/>
        <a:p>
          <a:endParaRPr lang="en-US"/>
        </a:p>
      </dgm:t>
    </dgm:pt>
    <dgm:pt modelId="{0B69C4B9-CEE9-4D79-80E0-372D227DA475}" type="pres">
      <dgm:prSet presAssocID="{3E61D64B-1AA5-4601-9576-9F40B7F6F109}" presName="hierRoot2" presStyleCnt="0">
        <dgm:presLayoutVars>
          <dgm:hierBranch val="init"/>
        </dgm:presLayoutVars>
      </dgm:prSet>
      <dgm:spPr/>
    </dgm:pt>
    <dgm:pt modelId="{C097E933-9968-4CE9-92B9-6E4C1B2D503A}" type="pres">
      <dgm:prSet presAssocID="{3E61D64B-1AA5-4601-9576-9F40B7F6F109}" presName="rootComposite" presStyleCnt="0"/>
      <dgm:spPr/>
    </dgm:pt>
    <dgm:pt modelId="{43E53147-0976-4FF2-B844-98A634C5900E}" type="pres">
      <dgm:prSet presAssocID="{3E61D64B-1AA5-4601-9576-9F40B7F6F109}" presName="rootText" presStyleLbl="node1" presStyleIdx="0" presStyleCnt="9" custScaleX="170439" custScaleY="117725" custLinFactY="-31456" custLinFactNeighborY="-100000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EDD8E5E9-48A8-4800-8821-4FDB2A73890F}" type="pres">
      <dgm:prSet presAssocID="{3E61D64B-1AA5-4601-9576-9F40B7F6F109}" presName="titleText2" presStyleLbl="fgAcc1" presStyleIdx="0" presStyleCnt="9" custScaleX="127798" custScaleY="145716" custLinFactY="-121447" custLinFactNeighborX="16778" custLinFactNeighborY="-20000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F3BE5DE8-2620-4326-BD06-6036117B31BB}" type="pres">
      <dgm:prSet presAssocID="{3E61D64B-1AA5-4601-9576-9F40B7F6F109}" presName="rootConnector" presStyleLbl="node2" presStyleIdx="0" presStyleCnt="0"/>
      <dgm:spPr/>
      <dgm:t>
        <a:bodyPr/>
        <a:lstStyle/>
        <a:p>
          <a:endParaRPr lang="en-US"/>
        </a:p>
      </dgm:t>
    </dgm:pt>
    <dgm:pt modelId="{85CD6BD0-A328-43B5-8C15-91C3AD345878}" type="pres">
      <dgm:prSet presAssocID="{3E61D64B-1AA5-4601-9576-9F40B7F6F109}" presName="hierChild4" presStyleCnt="0"/>
      <dgm:spPr/>
    </dgm:pt>
    <dgm:pt modelId="{4DC4F22B-9EC3-4AE2-9BC0-CFF9FB03AB39}" type="pres">
      <dgm:prSet presAssocID="{3E61D64B-1AA5-4601-9576-9F40B7F6F109}" presName="hierChild5" presStyleCnt="0"/>
      <dgm:spPr/>
    </dgm:pt>
    <dgm:pt modelId="{FC50FB2C-9B69-4ADE-9CB7-1C60B57B8ACC}" type="pres">
      <dgm:prSet presAssocID="{0EB9F02D-797B-4484-95E1-5351B71F926D}" presName="Name37" presStyleLbl="parChTrans1D2" presStyleIdx="1" presStyleCnt="7"/>
      <dgm:spPr/>
      <dgm:t>
        <a:bodyPr/>
        <a:lstStyle/>
        <a:p>
          <a:endParaRPr lang="en-US"/>
        </a:p>
      </dgm:t>
    </dgm:pt>
    <dgm:pt modelId="{9BAB8CC1-6DDE-4295-885B-AD78C0DFADC0}" type="pres">
      <dgm:prSet presAssocID="{B805A43A-9C13-42A5-9294-024AFE6C1F7C}" presName="hierRoot2" presStyleCnt="0">
        <dgm:presLayoutVars>
          <dgm:hierBranch val="init"/>
        </dgm:presLayoutVars>
      </dgm:prSet>
      <dgm:spPr/>
    </dgm:pt>
    <dgm:pt modelId="{A1496BAF-262C-47BE-A494-EC0921FB66A6}" type="pres">
      <dgm:prSet presAssocID="{B805A43A-9C13-42A5-9294-024AFE6C1F7C}" presName="rootComposite" presStyleCnt="0"/>
      <dgm:spPr/>
    </dgm:pt>
    <dgm:pt modelId="{74B397B9-BF4D-4730-9C54-86E101C75463}" type="pres">
      <dgm:prSet presAssocID="{B805A43A-9C13-42A5-9294-024AFE6C1F7C}" presName="rootText" presStyleLbl="node1" presStyleIdx="1" presStyleCnt="9" custScaleX="170439" custScaleY="117725" custLinFactY="-31456" custLinFactNeighborY="-100000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AF7B04E5-4871-489E-90D4-052F0AE4D44E}" type="pres">
      <dgm:prSet presAssocID="{B805A43A-9C13-42A5-9294-024AFE6C1F7C}" presName="titleText2" presStyleLbl="fgAcc1" presStyleIdx="1" presStyleCnt="9" custScaleX="141348" custScaleY="145716" custLinFactY="-121447" custLinFactNeighborX="10151" custLinFactNeighborY="-20000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1C68500F-C0D0-4BBB-A41D-8F8CD88AE832}" type="pres">
      <dgm:prSet presAssocID="{B805A43A-9C13-42A5-9294-024AFE6C1F7C}" presName="rootConnector" presStyleLbl="node2" presStyleIdx="0" presStyleCnt="0"/>
      <dgm:spPr/>
      <dgm:t>
        <a:bodyPr/>
        <a:lstStyle/>
        <a:p>
          <a:endParaRPr lang="en-US"/>
        </a:p>
      </dgm:t>
    </dgm:pt>
    <dgm:pt modelId="{3A8B543C-F8C6-4DF2-8278-89CEB5F8CC4F}" type="pres">
      <dgm:prSet presAssocID="{B805A43A-9C13-42A5-9294-024AFE6C1F7C}" presName="hierChild4" presStyleCnt="0"/>
      <dgm:spPr/>
    </dgm:pt>
    <dgm:pt modelId="{C941CF23-1AC5-40E8-8AC1-977946D6CE71}" type="pres">
      <dgm:prSet presAssocID="{B805A43A-9C13-42A5-9294-024AFE6C1F7C}" presName="hierChild5" presStyleCnt="0"/>
      <dgm:spPr/>
    </dgm:pt>
    <dgm:pt modelId="{EB0B6D52-8D66-42FB-B258-8262B668B611}" type="pres">
      <dgm:prSet presAssocID="{02CAB89B-03BF-4357-B044-1659896C4CD9}" presName="Name37" presStyleLbl="parChTrans1D2" presStyleIdx="2" presStyleCnt="7"/>
      <dgm:spPr/>
      <dgm:t>
        <a:bodyPr/>
        <a:lstStyle/>
        <a:p>
          <a:endParaRPr lang="en-US"/>
        </a:p>
      </dgm:t>
    </dgm:pt>
    <dgm:pt modelId="{1EF052AE-3FA7-4409-9427-92C6AE31CAEB}" type="pres">
      <dgm:prSet presAssocID="{EEBE0D55-0D4A-4CAC-B4E9-D9BD33210D2A}" presName="hierRoot2" presStyleCnt="0">
        <dgm:presLayoutVars>
          <dgm:hierBranch val="init"/>
        </dgm:presLayoutVars>
      </dgm:prSet>
      <dgm:spPr/>
    </dgm:pt>
    <dgm:pt modelId="{2B2DD7B4-9E08-4ACE-9DC3-D04368949BA4}" type="pres">
      <dgm:prSet presAssocID="{EEBE0D55-0D4A-4CAC-B4E9-D9BD33210D2A}" presName="rootComposite" presStyleCnt="0"/>
      <dgm:spPr/>
    </dgm:pt>
    <dgm:pt modelId="{9B078EDA-7880-4DED-BD94-7D345B7A5808}" type="pres">
      <dgm:prSet presAssocID="{EEBE0D55-0D4A-4CAC-B4E9-D9BD33210D2A}" presName="rootText" presStyleLbl="node1" presStyleIdx="2" presStyleCnt="9" custLinFactY="61504" custLinFactNeighborX="-10199" custLinFactNeighborY="100000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E451B8C2-DF00-47FF-8F88-2E400C52BEB0}" type="pres">
      <dgm:prSet presAssocID="{EEBE0D55-0D4A-4CAC-B4E9-D9BD33210D2A}" presName="titleText2" presStyleLbl="fgAcc1" presStyleIdx="2" presStyleCnt="9" custLinFactX="300000" custLinFactY="-200000" custLinFactNeighborX="361841" custLinFactNeighborY="-225253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1B7E13B1-F218-4F27-BE19-2B2866B046D7}" type="pres">
      <dgm:prSet presAssocID="{EEBE0D55-0D4A-4CAC-B4E9-D9BD33210D2A}" presName="rootConnector" presStyleLbl="node2" presStyleIdx="0" presStyleCnt="0"/>
      <dgm:spPr/>
      <dgm:t>
        <a:bodyPr/>
        <a:lstStyle/>
        <a:p>
          <a:endParaRPr lang="en-US"/>
        </a:p>
      </dgm:t>
    </dgm:pt>
    <dgm:pt modelId="{A03E0962-C829-40C1-BD28-EA57F87350A9}" type="pres">
      <dgm:prSet presAssocID="{EEBE0D55-0D4A-4CAC-B4E9-D9BD33210D2A}" presName="hierChild4" presStyleCnt="0"/>
      <dgm:spPr/>
    </dgm:pt>
    <dgm:pt modelId="{75289DE4-AEC6-498E-B3FB-B65054D0EB53}" type="pres">
      <dgm:prSet presAssocID="{F7603137-58AC-44EA-AB85-F4BEB6D4EDD1}" presName="Name37" presStyleLbl="parChTrans1D3" presStyleIdx="0" presStyleCnt="5"/>
      <dgm:spPr/>
      <dgm:t>
        <a:bodyPr/>
        <a:lstStyle/>
        <a:p>
          <a:endParaRPr lang="en-US"/>
        </a:p>
      </dgm:t>
    </dgm:pt>
    <dgm:pt modelId="{39ABFF22-B48A-4413-9AED-5A3C6982297F}" type="pres">
      <dgm:prSet presAssocID="{921F0F96-6D1D-4EFA-BE6C-751835EBEE9A}" presName="hierRoot2" presStyleCnt="0">
        <dgm:presLayoutVars>
          <dgm:hierBranch val="init"/>
        </dgm:presLayoutVars>
      </dgm:prSet>
      <dgm:spPr/>
    </dgm:pt>
    <dgm:pt modelId="{83B8EA0B-2A9F-4009-8029-7FF53EF707F9}" type="pres">
      <dgm:prSet presAssocID="{921F0F96-6D1D-4EFA-BE6C-751835EBEE9A}" presName="rootComposite" presStyleCnt="0"/>
      <dgm:spPr/>
    </dgm:pt>
    <dgm:pt modelId="{AEDCB40E-76FB-4D8E-9995-6B610D083BE2}" type="pres">
      <dgm:prSet presAssocID="{921F0F96-6D1D-4EFA-BE6C-751835EBEE9A}" presName="rootText" presStyleLbl="node1" presStyleIdx="3" presStyleCnt="9" custScaleX="170886" custScaleY="105921" custLinFactY="36264" custLinFactNeighborX="-76719" custLinFactNeighborY="100000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286D1F6F-ACFD-4D81-9A32-E909D7B909B8}" type="pres">
      <dgm:prSet presAssocID="{921F0F96-6D1D-4EFA-BE6C-751835EBEE9A}" presName="titleText2" presStyleLbl="fgAcc1" presStyleIdx="3" presStyleCnt="9" custScaleX="118639" custScaleY="144134" custLinFactY="200000" custLinFactNeighborX="-63891" custLinFactNeighborY="24556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B732626A-1B45-4211-A671-A173A4460084}" type="pres">
      <dgm:prSet presAssocID="{921F0F96-6D1D-4EFA-BE6C-751835EBEE9A}" presName="rootConnector" presStyleLbl="node3" presStyleIdx="0" presStyleCnt="0"/>
      <dgm:spPr/>
      <dgm:t>
        <a:bodyPr/>
        <a:lstStyle/>
        <a:p>
          <a:endParaRPr lang="en-US"/>
        </a:p>
      </dgm:t>
    </dgm:pt>
    <dgm:pt modelId="{8C262C86-0B82-4912-82CC-ECCD13BC5F23}" type="pres">
      <dgm:prSet presAssocID="{921F0F96-6D1D-4EFA-BE6C-751835EBEE9A}" presName="hierChild4" presStyleCnt="0"/>
      <dgm:spPr/>
    </dgm:pt>
    <dgm:pt modelId="{6B4468D1-E68F-4DC5-9A05-0913B4358DAB}" type="pres">
      <dgm:prSet presAssocID="{921F0F96-6D1D-4EFA-BE6C-751835EBEE9A}" presName="hierChild5" presStyleCnt="0"/>
      <dgm:spPr/>
    </dgm:pt>
    <dgm:pt modelId="{F7619440-0572-4C7C-B6A8-81BB958CC655}" type="pres">
      <dgm:prSet presAssocID="{A42BE0AA-A3AD-4B92-9E2E-334648F02A34}" presName="Name37" presStyleLbl="parChTrans1D3" presStyleIdx="1" presStyleCnt="5"/>
      <dgm:spPr/>
      <dgm:t>
        <a:bodyPr/>
        <a:lstStyle/>
        <a:p>
          <a:endParaRPr lang="en-US"/>
        </a:p>
      </dgm:t>
    </dgm:pt>
    <dgm:pt modelId="{F4CCF413-642F-4654-BE84-456FB77F71D1}" type="pres">
      <dgm:prSet presAssocID="{24CD3B81-7424-4E11-856F-9C5D3E78081A}" presName="hierRoot2" presStyleCnt="0">
        <dgm:presLayoutVars>
          <dgm:hierBranch val="init"/>
        </dgm:presLayoutVars>
      </dgm:prSet>
      <dgm:spPr/>
    </dgm:pt>
    <dgm:pt modelId="{33CD3C74-1511-4BCD-B588-E47E71AC1E39}" type="pres">
      <dgm:prSet presAssocID="{24CD3B81-7424-4E11-856F-9C5D3E78081A}" presName="rootComposite" presStyleCnt="0"/>
      <dgm:spPr/>
    </dgm:pt>
    <dgm:pt modelId="{C72A4AB7-8CF8-4B69-8EE7-A348228E67CF}" type="pres">
      <dgm:prSet presAssocID="{24CD3B81-7424-4E11-856F-9C5D3E78081A}" presName="rootText" presStyleLbl="node1" presStyleIdx="4" presStyleCnt="9" custScaleX="170886" custScaleY="105921" custLinFactY="36264" custLinFactNeighborX="-76719" custLinFactNeighborY="100000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4A964AEB-3EA5-4F06-B1E8-CD7944F15EBC}" type="pres">
      <dgm:prSet presAssocID="{24CD3B81-7424-4E11-856F-9C5D3E78081A}" presName="titleText2" presStyleLbl="fgAcc1" presStyleIdx="4" presStyleCnt="9" custScaleX="118639" custScaleY="144134" custLinFactY="200000" custLinFactNeighborX="-63891" custLinFactNeighborY="24556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0AEB1EB7-E06A-4478-A2A5-E596847A48AE}" type="pres">
      <dgm:prSet presAssocID="{24CD3B81-7424-4E11-856F-9C5D3E78081A}" presName="rootConnector" presStyleLbl="node3" presStyleIdx="0" presStyleCnt="0"/>
      <dgm:spPr/>
      <dgm:t>
        <a:bodyPr/>
        <a:lstStyle/>
        <a:p>
          <a:endParaRPr lang="en-US"/>
        </a:p>
      </dgm:t>
    </dgm:pt>
    <dgm:pt modelId="{9449A9C4-FE9F-47C0-ADCA-524CDE045218}" type="pres">
      <dgm:prSet presAssocID="{24CD3B81-7424-4E11-856F-9C5D3E78081A}" presName="hierChild4" presStyleCnt="0"/>
      <dgm:spPr/>
    </dgm:pt>
    <dgm:pt modelId="{0841A2C1-1C6C-4807-95F4-450431396156}" type="pres">
      <dgm:prSet presAssocID="{24CD3B81-7424-4E11-856F-9C5D3E78081A}" presName="hierChild5" presStyleCnt="0"/>
      <dgm:spPr/>
    </dgm:pt>
    <dgm:pt modelId="{4E223B76-EFD5-4809-B271-A0FE2AF321A8}" type="pres">
      <dgm:prSet presAssocID="{10A23F83-3B9F-4FFC-B598-20C022C74B35}" presName="Name37" presStyleLbl="parChTrans1D3" presStyleIdx="2" presStyleCnt="5"/>
      <dgm:spPr/>
      <dgm:t>
        <a:bodyPr/>
        <a:lstStyle/>
        <a:p>
          <a:endParaRPr lang="en-US"/>
        </a:p>
      </dgm:t>
    </dgm:pt>
    <dgm:pt modelId="{BBC93278-E0B3-4E39-9240-7FC4AEF45622}" type="pres">
      <dgm:prSet presAssocID="{6A18ACCE-444C-4AF7-8CAF-D6E2155F29E4}" presName="hierRoot2" presStyleCnt="0">
        <dgm:presLayoutVars>
          <dgm:hierBranch val="init"/>
        </dgm:presLayoutVars>
      </dgm:prSet>
      <dgm:spPr/>
    </dgm:pt>
    <dgm:pt modelId="{85403DEB-8BC5-4C42-B6FA-3038D2B111A9}" type="pres">
      <dgm:prSet presAssocID="{6A18ACCE-444C-4AF7-8CAF-D6E2155F29E4}" presName="rootComposite" presStyleCnt="0"/>
      <dgm:spPr/>
    </dgm:pt>
    <dgm:pt modelId="{2CDACD4A-71E3-4DA8-9D66-4D967E34D4D9}" type="pres">
      <dgm:prSet presAssocID="{6A18ACCE-444C-4AF7-8CAF-D6E2155F29E4}" presName="rootText" presStyleLbl="node1" presStyleIdx="5" presStyleCnt="9" custScaleX="170886" custScaleY="105921" custLinFactY="36264" custLinFactNeighborX="-76719" custLinFactNeighborY="100000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4F1A9EB3-F182-4223-BD03-8C785222F094}" type="pres">
      <dgm:prSet presAssocID="{6A18ACCE-444C-4AF7-8CAF-D6E2155F29E4}" presName="titleText2" presStyleLbl="fgAcc1" presStyleIdx="5" presStyleCnt="9" custScaleX="118639" custScaleY="144134" custLinFactY="200000" custLinFactNeighborX="-63891" custLinFactNeighborY="24556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6B91270E-159D-45F4-BAD5-EB27B96BA7DC}" type="pres">
      <dgm:prSet presAssocID="{6A18ACCE-444C-4AF7-8CAF-D6E2155F29E4}" presName="rootConnector" presStyleLbl="node3" presStyleIdx="0" presStyleCnt="0"/>
      <dgm:spPr/>
      <dgm:t>
        <a:bodyPr/>
        <a:lstStyle/>
        <a:p>
          <a:endParaRPr lang="en-US"/>
        </a:p>
      </dgm:t>
    </dgm:pt>
    <dgm:pt modelId="{92A89378-262B-4DD4-AFF6-B3BDB861BB45}" type="pres">
      <dgm:prSet presAssocID="{6A18ACCE-444C-4AF7-8CAF-D6E2155F29E4}" presName="hierChild4" presStyleCnt="0"/>
      <dgm:spPr/>
    </dgm:pt>
    <dgm:pt modelId="{24D93BFC-6A27-44C3-90AC-7A8F4436FA2A}" type="pres">
      <dgm:prSet presAssocID="{6A18ACCE-444C-4AF7-8CAF-D6E2155F29E4}" presName="hierChild5" presStyleCnt="0"/>
      <dgm:spPr/>
    </dgm:pt>
    <dgm:pt modelId="{F6779AE2-AC49-4235-A456-3C4A824EB71E}" type="pres">
      <dgm:prSet presAssocID="{EEBE0D55-0D4A-4CAC-B4E9-D9BD33210D2A}" presName="hierChild5" presStyleCnt="0"/>
      <dgm:spPr/>
    </dgm:pt>
    <dgm:pt modelId="{EED24475-C752-40CF-94E7-C16CA754D690}" type="pres">
      <dgm:prSet presAssocID="{78924684-97E3-42DF-8317-363E71F7E8BF}" presName="Name37" presStyleLbl="parChTrans1D2" presStyleIdx="3" presStyleCnt="7"/>
      <dgm:spPr/>
      <dgm:t>
        <a:bodyPr/>
        <a:lstStyle/>
        <a:p>
          <a:endParaRPr lang="en-US"/>
        </a:p>
      </dgm:t>
    </dgm:pt>
    <dgm:pt modelId="{7474700A-9BFB-4FA9-8172-2411B8512382}" type="pres">
      <dgm:prSet presAssocID="{B9C6DFD4-98B4-4163-A734-BF4A1A5C3696}" presName="hierRoot2" presStyleCnt="0">
        <dgm:presLayoutVars>
          <dgm:hierBranch val="init"/>
        </dgm:presLayoutVars>
      </dgm:prSet>
      <dgm:spPr/>
    </dgm:pt>
    <dgm:pt modelId="{99E9EAA3-7E69-4FCD-BC9C-4177BB1CFC8F}" type="pres">
      <dgm:prSet presAssocID="{B9C6DFD4-98B4-4163-A734-BF4A1A5C3696}" presName="rootComposite" presStyleCnt="0"/>
      <dgm:spPr/>
    </dgm:pt>
    <dgm:pt modelId="{B4EE3F85-FABF-4DDA-9A03-2E77F287EB2B}" type="pres">
      <dgm:prSet presAssocID="{B9C6DFD4-98B4-4163-A734-BF4A1A5C3696}" presName="rootText" presStyleLbl="node1" presStyleIdx="6" presStyleCnt="9" custLinFactY="61504" custLinFactNeighborX="19842" custLinFactNeighborY="100000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E2100F59-529E-4DDB-8DC8-7061D3C5CE11}" type="pres">
      <dgm:prSet presAssocID="{B9C6DFD4-98B4-4163-A734-BF4A1A5C3696}" presName="titleText2" presStyleLbl="fgAcc1" presStyleIdx="6" presStyleCnt="9" custLinFactX="100000" custLinFactY="-237306" custLinFactNeighborX="179349" custLinFactNeighborY="-30000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A9F5B012-A64D-41FF-AF34-CE6DCEAA5165}" type="pres">
      <dgm:prSet presAssocID="{B9C6DFD4-98B4-4163-A734-BF4A1A5C3696}" presName="rootConnector" presStyleLbl="node2" presStyleIdx="0" presStyleCnt="0"/>
      <dgm:spPr/>
      <dgm:t>
        <a:bodyPr/>
        <a:lstStyle/>
        <a:p>
          <a:endParaRPr lang="en-US"/>
        </a:p>
      </dgm:t>
    </dgm:pt>
    <dgm:pt modelId="{14064B1F-DE72-4765-93DE-D683204D8DBC}" type="pres">
      <dgm:prSet presAssocID="{B9C6DFD4-98B4-4163-A734-BF4A1A5C3696}" presName="hierChild4" presStyleCnt="0"/>
      <dgm:spPr/>
    </dgm:pt>
    <dgm:pt modelId="{9E39FE3A-EB22-4FE7-8084-C26F4CF0B6CC}" type="pres">
      <dgm:prSet presAssocID="{EA2160FB-28E5-4B3C-B6FE-8E4CA64EBEED}" presName="Name37" presStyleLbl="parChTrans1D3" presStyleIdx="3" presStyleCnt="5"/>
      <dgm:spPr/>
      <dgm:t>
        <a:bodyPr/>
        <a:lstStyle/>
        <a:p>
          <a:endParaRPr lang="en-US"/>
        </a:p>
      </dgm:t>
    </dgm:pt>
    <dgm:pt modelId="{7706A645-BC85-4555-8EE4-1B3A52A88FEC}" type="pres">
      <dgm:prSet presAssocID="{0EEB061F-629B-41C6-A7C5-370313899BC7}" presName="hierRoot2" presStyleCnt="0">
        <dgm:presLayoutVars>
          <dgm:hierBranch val="init"/>
        </dgm:presLayoutVars>
      </dgm:prSet>
      <dgm:spPr/>
    </dgm:pt>
    <dgm:pt modelId="{E06077D2-F583-4C80-8879-EEA1DE08902D}" type="pres">
      <dgm:prSet presAssocID="{0EEB061F-629B-41C6-A7C5-370313899BC7}" presName="rootComposite" presStyleCnt="0"/>
      <dgm:spPr/>
    </dgm:pt>
    <dgm:pt modelId="{F0A90B04-9D89-4F07-B021-15A4E46DE3BA}" type="pres">
      <dgm:prSet presAssocID="{0EEB061F-629B-41C6-A7C5-370313899BC7}" presName="rootText" presStyleLbl="node1" presStyleIdx="7" presStyleCnt="9" custScaleX="165205" custScaleY="105921" custLinFactY="36264" custLinFactNeighborX="-15000" custLinFactNeighborY="100000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4EFD663A-50E0-4199-B89B-690FB75D3827}" type="pres">
      <dgm:prSet presAssocID="{0EEB061F-629B-41C6-A7C5-370313899BC7}" presName="titleText2" presStyleLbl="fgAcc1" presStyleIdx="7" presStyleCnt="9" custScaleX="147424" custScaleY="144134" custLinFactY="200000" custLinFactNeighborX="-8754" custLinFactNeighborY="251766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97D492DF-DA1E-4BF7-9239-12C80D19A15A}" type="pres">
      <dgm:prSet presAssocID="{0EEB061F-629B-41C6-A7C5-370313899BC7}" presName="rootConnector" presStyleLbl="node3" presStyleIdx="0" presStyleCnt="0"/>
      <dgm:spPr/>
      <dgm:t>
        <a:bodyPr/>
        <a:lstStyle/>
        <a:p>
          <a:endParaRPr lang="en-US"/>
        </a:p>
      </dgm:t>
    </dgm:pt>
    <dgm:pt modelId="{15085685-E455-4DBF-854A-C08B40D92DA9}" type="pres">
      <dgm:prSet presAssocID="{0EEB061F-629B-41C6-A7C5-370313899BC7}" presName="hierChild4" presStyleCnt="0"/>
      <dgm:spPr/>
    </dgm:pt>
    <dgm:pt modelId="{8E73DC74-98DD-4246-8DF0-86DCABECE2DB}" type="pres">
      <dgm:prSet presAssocID="{0EEB061F-629B-41C6-A7C5-370313899BC7}" presName="hierChild5" presStyleCnt="0"/>
      <dgm:spPr/>
    </dgm:pt>
    <dgm:pt modelId="{ADD66765-0D4A-43AC-B680-01ED08F833B3}" type="pres">
      <dgm:prSet presAssocID="{43DAE309-415B-4739-B1F4-95D8060D2406}" presName="Name37" presStyleLbl="parChTrans1D3" presStyleIdx="4" presStyleCnt="5"/>
      <dgm:spPr/>
      <dgm:t>
        <a:bodyPr/>
        <a:lstStyle/>
        <a:p>
          <a:endParaRPr lang="en-US"/>
        </a:p>
      </dgm:t>
    </dgm:pt>
    <dgm:pt modelId="{D9139EAE-C7F2-4139-97E7-1C60C0176DC4}" type="pres">
      <dgm:prSet presAssocID="{EF5E1E76-ED66-4060-91D6-1E003B6F45BB}" presName="hierRoot2" presStyleCnt="0">
        <dgm:presLayoutVars>
          <dgm:hierBranch val="init"/>
        </dgm:presLayoutVars>
      </dgm:prSet>
      <dgm:spPr/>
    </dgm:pt>
    <dgm:pt modelId="{8B8167F0-F964-4121-8919-2F62739A8EDD}" type="pres">
      <dgm:prSet presAssocID="{EF5E1E76-ED66-4060-91D6-1E003B6F45BB}" presName="rootComposite" presStyleCnt="0"/>
      <dgm:spPr/>
    </dgm:pt>
    <dgm:pt modelId="{ECA65B0B-70F5-454A-8C38-0FB7BA3A4007}" type="pres">
      <dgm:prSet presAssocID="{EF5E1E76-ED66-4060-91D6-1E003B6F45BB}" presName="rootText" presStyleLbl="node1" presStyleIdx="8" presStyleCnt="9" custScaleX="165205" custScaleY="105921" custLinFactY="36264" custLinFactNeighborX="-15000" custLinFactNeighborY="100000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B689121D-3C5C-4B8A-98DD-BD466D738FA8}" type="pres">
      <dgm:prSet presAssocID="{EF5E1E76-ED66-4060-91D6-1E003B6F45BB}" presName="titleText2" presStyleLbl="fgAcc1" presStyleIdx="8" presStyleCnt="9" custScaleX="147424" custScaleY="144134" custLinFactY="200000" custLinFactNeighborX="-13226" custLinFactNeighborY="245889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6AC6FA8A-7D56-4582-A5BA-5467DBC654A1}" type="pres">
      <dgm:prSet presAssocID="{EF5E1E76-ED66-4060-91D6-1E003B6F45BB}" presName="rootConnector" presStyleLbl="node3" presStyleIdx="0" presStyleCnt="0"/>
      <dgm:spPr/>
      <dgm:t>
        <a:bodyPr/>
        <a:lstStyle/>
        <a:p>
          <a:endParaRPr lang="en-US"/>
        </a:p>
      </dgm:t>
    </dgm:pt>
    <dgm:pt modelId="{9ED2DC29-D541-4B88-AEEC-44D387D9E3D5}" type="pres">
      <dgm:prSet presAssocID="{EF5E1E76-ED66-4060-91D6-1E003B6F45BB}" presName="hierChild4" presStyleCnt="0"/>
      <dgm:spPr/>
    </dgm:pt>
    <dgm:pt modelId="{6830264B-5FF4-4D32-85B3-D6C21D3FE288}" type="pres">
      <dgm:prSet presAssocID="{EF5E1E76-ED66-4060-91D6-1E003B6F45BB}" presName="hierChild5" presStyleCnt="0"/>
      <dgm:spPr/>
    </dgm:pt>
    <dgm:pt modelId="{BE3AB2EE-BBD2-42AF-AB24-3E9DC3C1E6D2}" type="pres">
      <dgm:prSet presAssocID="{B9C6DFD4-98B4-4163-A734-BF4A1A5C3696}" presName="hierChild5" presStyleCnt="0"/>
      <dgm:spPr/>
    </dgm:pt>
    <dgm:pt modelId="{C5E75C7B-A5AE-476B-8CB8-8942BB4050DA}" type="pres">
      <dgm:prSet presAssocID="{54731671-5836-4401-A5A5-CEED465700AE}" presName="hierChild3" presStyleCnt="0"/>
      <dgm:spPr/>
    </dgm:pt>
    <dgm:pt modelId="{821E1C1F-2A45-4012-959D-4109D64A5978}" type="pres">
      <dgm:prSet presAssocID="{9878D5A0-5143-4A24-A81F-4D61E3744A06}" presName="Name96" presStyleLbl="parChTrans1D2" presStyleIdx="4" presStyleCnt="7"/>
      <dgm:spPr/>
      <dgm:t>
        <a:bodyPr/>
        <a:lstStyle/>
        <a:p>
          <a:endParaRPr lang="en-US"/>
        </a:p>
      </dgm:t>
    </dgm:pt>
    <dgm:pt modelId="{7B442492-1101-486D-8196-759778D8C6B1}" type="pres">
      <dgm:prSet presAssocID="{4725DA50-8393-45CD-9969-B6F825AF7F19}" presName="hierRoot3" presStyleCnt="0">
        <dgm:presLayoutVars>
          <dgm:hierBranch val="init"/>
        </dgm:presLayoutVars>
      </dgm:prSet>
      <dgm:spPr/>
    </dgm:pt>
    <dgm:pt modelId="{7C41367B-7B51-4EBF-90EF-9C29D3EA9A87}" type="pres">
      <dgm:prSet presAssocID="{4725DA50-8393-45CD-9969-B6F825AF7F19}" presName="rootComposite3" presStyleCnt="0"/>
      <dgm:spPr/>
    </dgm:pt>
    <dgm:pt modelId="{45FDE6ED-B03E-46F2-AD4F-89BDC4C3A94B}" type="pres">
      <dgm:prSet presAssocID="{4725DA50-8393-45CD-9969-B6F825AF7F19}" presName="rootText3" presStyleLbl="asst1" presStyleIdx="0" presStyleCnt="3" custScaleX="170439" custScaleY="118586" custLinFactNeighborX="-59282" custLinFactNeighborY="-1114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ADFFDB9-F2C8-4A16-BF25-4F49A4831CAE}" type="pres">
      <dgm:prSet presAssocID="{4725DA50-8393-45CD-9969-B6F825AF7F19}" presName="titleText3" presStyleLbl="fgAcc2" presStyleIdx="0" presStyleCnt="3" custScaleY="144134" custLinFactNeighborX="-33303" custLinFactNeighborY="41002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12C54A64-0C5C-4C69-AE28-332C538C0D94}" type="pres">
      <dgm:prSet presAssocID="{4725DA50-8393-45CD-9969-B6F825AF7F19}" presName="rootConnector3" presStyleLbl="asst1" presStyleIdx="0" presStyleCnt="3"/>
      <dgm:spPr/>
      <dgm:t>
        <a:bodyPr/>
        <a:lstStyle/>
        <a:p>
          <a:endParaRPr lang="en-US"/>
        </a:p>
      </dgm:t>
    </dgm:pt>
    <dgm:pt modelId="{5D6CA436-93C9-4D5B-9AFA-D905502666E0}" type="pres">
      <dgm:prSet presAssocID="{4725DA50-8393-45CD-9969-B6F825AF7F19}" presName="hierChild6" presStyleCnt="0"/>
      <dgm:spPr/>
    </dgm:pt>
    <dgm:pt modelId="{0382E1BA-A42A-40E7-A58D-989077EEBA11}" type="pres">
      <dgm:prSet presAssocID="{4725DA50-8393-45CD-9969-B6F825AF7F19}" presName="hierChild7" presStyleCnt="0"/>
      <dgm:spPr/>
    </dgm:pt>
    <dgm:pt modelId="{6955142F-7F4E-4283-8344-528E08679EB9}" type="pres">
      <dgm:prSet presAssocID="{1DA0CEA1-74F6-4898-A8E9-680A20238D22}" presName="Name96" presStyleLbl="parChTrans1D2" presStyleIdx="5" presStyleCnt="7"/>
      <dgm:spPr/>
      <dgm:t>
        <a:bodyPr/>
        <a:lstStyle/>
        <a:p>
          <a:endParaRPr lang="en-US"/>
        </a:p>
      </dgm:t>
    </dgm:pt>
    <dgm:pt modelId="{ED8FDB38-8562-4A96-8C69-BD6439B85DDC}" type="pres">
      <dgm:prSet presAssocID="{E0B353A5-031B-43D9-92A4-E55945C0E331}" presName="hierRoot3" presStyleCnt="0">
        <dgm:presLayoutVars>
          <dgm:hierBranch val="init"/>
        </dgm:presLayoutVars>
      </dgm:prSet>
      <dgm:spPr/>
    </dgm:pt>
    <dgm:pt modelId="{9F73237A-1462-4914-BB82-4BD33D7D86B9}" type="pres">
      <dgm:prSet presAssocID="{E0B353A5-031B-43D9-92A4-E55945C0E331}" presName="rootComposite3" presStyleCnt="0"/>
      <dgm:spPr/>
    </dgm:pt>
    <dgm:pt modelId="{B2C77A69-BD1E-4188-B09E-66203BCFE852}" type="pres">
      <dgm:prSet presAssocID="{E0B353A5-031B-43D9-92A4-E55945C0E331}" presName="rootText3" presStyleLbl="asst1" presStyleIdx="1" presStyleCnt="3" custScaleX="170439" custScaleY="118586" custLinFactX="31031" custLinFactNeighborX="100000" custLinFactNeighborY="-1206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CB83738-4943-42DA-9F95-B71EF7FC211B}" type="pres">
      <dgm:prSet presAssocID="{E0B353A5-031B-43D9-92A4-E55945C0E331}" presName="titleText3" presStyleLbl="fgAcc2" presStyleIdx="1" presStyleCnt="3" custScaleX="147468" custScaleY="144134" custLinFactX="55532" custLinFactNeighborX="100000" custLinFactNeighborY="4071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B48F8E66-4EFF-4ACC-AB21-5B23E352AD72}" type="pres">
      <dgm:prSet presAssocID="{E0B353A5-031B-43D9-92A4-E55945C0E331}" presName="rootConnector3" presStyleLbl="asst1" presStyleIdx="1" presStyleCnt="3"/>
      <dgm:spPr/>
      <dgm:t>
        <a:bodyPr/>
        <a:lstStyle/>
        <a:p>
          <a:endParaRPr lang="en-US"/>
        </a:p>
      </dgm:t>
    </dgm:pt>
    <dgm:pt modelId="{13B6AB02-7A99-427B-A758-56A06F82401E}" type="pres">
      <dgm:prSet presAssocID="{E0B353A5-031B-43D9-92A4-E55945C0E331}" presName="hierChild6" presStyleCnt="0"/>
      <dgm:spPr/>
    </dgm:pt>
    <dgm:pt modelId="{4409F079-C6BB-4461-A928-795FA2789284}" type="pres">
      <dgm:prSet presAssocID="{E0B353A5-031B-43D9-92A4-E55945C0E331}" presName="hierChild7" presStyleCnt="0"/>
      <dgm:spPr/>
    </dgm:pt>
    <dgm:pt modelId="{198E4D00-1812-4B74-98F6-0B0E44E881CD}" type="pres">
      <dgm:prSet presAssocID="{41A05D3D-664B-4C90-B5FD-0521B7F5AE8E}" presName="Name96" presStyleLbl="parChTrans1D2" presStyleIdx="6" presStyleCnt="7"/>
      <dgm:spPr/>
      <dgm:t>
        <a:bodyPr/>
        <a:lstStyle/>
        <a:p>
          <a:endParaRPr lang="en-US"/>
        </a:p>
      </dgm:t>
    </dgm:pt>
    <dgm:pt modelId="{6F389109-5A70-4467-A619-BF5C06DD8B23}" type="pres">
      <dgm:prSet presAssocID="{F93DD4F7-29B9-485E-A933-6F24D61DF674}" presName="hierRoot3" presStyleCnt="0">
        <dgm:presLayoutVars>
          <dgm:hierBranch val="init"/>
        </dgm:presLayoutVars>
      </dgm:prSet>
      <dgm:spPr/>
    </dgm:pt>
    <dgm:pt modelId="{11623418-4586-43ED-999B-2E50C297A749}" type="pres">
      <dgm:prSet presAssocID="{F93DD4F7-29B9-485E-A933-6F24D61DF674}" presName="rootComposite3" presStyleCnt="0"/>
      <dgm:spPr/>
    </dgm:pt>
    <dgm:pt modelId="{C2A25893-B0B7-4B89-96A2-43369F64F243}" type="pres">
      <dgm:prSet presAssocID="{F93DD4F7-29B9-485E-A933-6F24D61DF674}" presName="rootText3" presStyleLbl="asst1" presStyleIdx="2" presStyleCnt="3" custScaleX="170439" custScaleY="118586" custLinFactX="35364" custLinFactY="-78981" custLinFactNeighborX="100000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6F86B9E-15F6-4318-8024-F02C1A6CB8C0}" type="pres">
      <dgm:prSet presAssocID="{F93DD4F7-29B9-485E-A933-6F24D61DF674}" presName="titleText3" presStyleLbl="fgAcc2" presStyleIdx="2" presStyleCnt="3" custScaleY="144134" custLinFactX="83040" custLinFactY="-200000" custLinFactNeighborX="100000" custLinFactNeighborY="-26021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E526891-7EDE-4AD0-A10C-78449E9C8E6B}" type="pres">
      <dgm:prSet presAssocID="{F93DD4F7-29B9-485E-A933-6F24D61DF674}" presName="rootConnector3" presStyleLbl="asst1" presStyleIdx="2" presStyleCnt="3"/>
      <dgm:spPr/>
      <dgm:t>
        <a:bodyPr/>
        <a:lstStyle/>
        <a:p>
          <a:endParaRPr lang="en-US"/>
        </a:p>
      </dgm:t>
    </dgm:pt>
    <dgm:pt modelId="{7D815FC8-FD50-4F2F-86C5-3D904B0CC3EA}" type="pres">
      <dgm:prSet presAssocID="{F93DD4F7-29B9-485E-A933-6F24D61DF674}" presName="hierChild6" presStyleCnt="0"/>
      <dgm:spPr/>
    </dgm:pt>
    <dgm:pt modelId="{33D00B59-9A50-46FB-BE23-8D8EF0CE3B84}" type="pres">
      <dgm:prSet presAssocID="{F93DD4F7-29B9-485E-A933-6F24D61DF674}" presName="hierChild7" presStyleCnt="0"/>
      <dgm:spPr/>
    </dgm:pt>
  </dgm:ptLst>
  <dgm:cxnLst>
    <dgm:cxn modelId="{C56BED55-DADF-46D1-AB27-91636FBAC24F}" type="presOf" srcId="{C94FF4AB-F793-48D8-93EB-03403DD087D6}" destId="{9ADFFDB9-F2C8-4A16-BF25-4F49A4831CAE}" srcOrd="0" destOrd="0" presId="urn:microsoft.com/office/officeart/2008/layout/NameandTitleOrganizationalChart"/>
    <dgm:cxn modelId="{9DDE44CA-322D-4144-8C9F-9388EA95A280}" type="presOf" srcId="{B805A43A-9C13-42A5-9294-024AFE6C1F7C}" destId="{1C68500F-C0D0-4BBB-A41D-8F8CD88AE832}" srcOrd="1" destOrd="0" presId="urn:microsoft.com/office/officeart/2008/layout/NameandTitleOrganizationalChart"/>
    <dgm:cxn modelId="{9F0F2F82-F30F-40DA-91FB-5DAE202FBC87}" srcId="{54731671-5836-4401-A5A5-CEED465700AE}" destId="{B9C6DFD4-98B4-4163-A734-BF4A1A5C3696}" srcOrd="6" destOrd="0" parTransId="{78924684-97E3-42DF-8317-363E71F7E8BF}" sibTransId="{3AC6A46A-9FBE-4379-99A9-254E259E6CD9}"/>
    <dgm:cxn modelId="{5AB77E05-2335-4786-A4D9-D884B7E9FDEF}" type="presOf" srcId="{F7603137-58AC-44EA-AB85-F4BEB6D4EDD1}" destId="{75289DE4-AEC6-498E-B3FB-B65054D0EB53}" srcOrd="0" destOrd="0" presId="urn:microsoft.com/office/officeart/2008/layout/NameandTitleOrganizationalChart"/>
    <dgm:cxn modelId="{422B75A7-C457-43D1-9936-E1F2ABFEF7A2}" type="presOf" srcId="{6A18ACCE-444C-4AF7-8CAF-D6E2155F29E4}" destId="{6B91270E-159D-45F4-BAD5-EB27B96BA7DC}" srcOrd="1" destOrd="0" presId="urn:microsoft.com/office/officeart/2008/layout/NameandTitleOrganizationalChart"/>
    <dgm:cxn modelId="{61DBCD84-A309-4908-9783-6A3FA0368F06}" type="presOf" srcId="{921F0F96-6D1D-4EFA-BE6C-751835EBEE9A}" destId="{AEDCB40E-76FB-4D8E-9995-6B610D083BE2}" srcOrd="0" destOrd="0" presId="urn:microsoft.com/office/officeart/2008/layout/NameandTitleOrganizationalChart"/>
    <dgm:cxn modelId="{8D0FA349-D639-4677-B497-0555ECA2C0F6}" type="presOf" srcId="{B9C6DFD4-98B4-4163-A734-BF4A1A5C3696}" destId="{A9F5B012-A64D-41FF-AF34-CE6DCEAA5165}" srcOrd="1" destOrd="0" presId="urn:microsoft.com/office/officeart/2008/layout/NameandTitleOrganizationalChart"/>
    <dgm:cxn modelId="{9EBADDF6-ED16-4FB6-97FF-16F0EC5852DD}" type="presOf" srcId="{3E61D64B-1AA5-4601-9576-9F40B7F6F109}" destId="{43E53147-0976-4FF2-B844-98A634C5900E}" srcOrd="0" destOrd="0" presId="urn:microsoft.com/office/officeart/2008/layout/NameandTitleOrganizationalChart"/>
    <dgm:cxn modelId="{01A164E7-91B0-4C44-8E77-680F4F341841}" type="presOf" srcId="{EA2160FB-28E5-4B3C-B6FE-8E4CA64EBEED}" destId="{9E39FE3A-EB22-4FE7-8084-C26F4CF0B6CC}" srcOrd="0" destOrd="0" presId="urn:microsoft.com/office/officeart/2008/layout/NameandTitleOrganizationalChart"/>
    <dgm:cxn modelId="{8E605C22-E1F5-410F-8C73-3F28C6A0387E}" type="presOf" srcId="{EF5E1E76-ED66-4060-91D6-1E003B6F45BB}" destId="{6AC6FA8A-7D56-4582-A5BA-5467DBC654A1}" srcOrd="1" destOrd="0" presId="urn:microsoft.com/office/officeart/2008/layout/NameandTitleOrganizationalChart"/>
    <dgm:cxn modelId="{8069EEAB-2A54-4AD5-AE0E-D719080DF3EA}" srcId="{B9C6DFD4-98B4-4163-A734-BF4A1A5C3696}" destId="{EF5E1E76-ED66-4060-91D6-1E003B6F45BB}" srcOrd="1" destOrd="0" parTransId="{43DAE309-415B-4739-B1F4-95D8060D2406}" sibTransId="{1BC250C4-6FB1-4BE2-A94E-DBC03125552E}"/>
    <dgm:cxn modelId="{94E265F8-3F96-4093-912C-FAE95610C14E}" type="presOf" srcId="{B27B7161-5937-44DB-8EAE-F339E1F1FF04}" destId="{AF7B04E5-4871-489E-90D4-052F0AE4D44E}" srcOrd="0" destOrd="0" presId="urn:microsoft.com/office/officeart/2008/layout/NameandTitleOrganizationalChart"/>
    <dgm:cxn modelId="{27CDB110-555D-44B6-96E9-028307EB33B5}" type="presOf" srcId="{24CD3B81-7424-4E11-856F-9C5D3E78081A}" destId="{0AEB1EB7-E06A-4478-A2A5-E596847A48AE}" srcOrd="1" destOrd="0" presId="urn:microsoft.com/office/officeart/2008/layout/NameandTitleOrganizationalChart"/>
    <dgm:cxn modelId="{C8476522-2429-4130-8A5A-F9A0B958E540}" type="presOf" srcId="{78924684-97E3-42DF-8317-363E71F7E8BF}" destId="{EED24475-C752-40CF-94E7-C16CA754D690}" srcOrd="0" destOrd="0" presId="urn:microsoft.com/office/officeart/2008/layout/NameandTitleOrganizationalChart"/>
    <dgm:cxn modelId="{F746F81C-171E-45BC-B157-0C9203B5EE49}" srcId="{EEBE0D55-0D4A-4CAC-B4E9-D9BD33210D2A}" destId="{6A18ACCE-444C-4AF7-8CAF-D6E2155F29E4}" srcOrd="2" destOrd="0" parTransId="{10A23F83-3B9F-4FFC-B598-20C022C74B35}" sibTransId="{CC75B549-E644-472C-AE8F-CD3C06D0C142}"/>
    <dgm:cxn modelId="{A82E7F3F-5AF6-4FA2-B149-F64B2F60E99E}" type="presOf" srcId="{F93DD4F7-29B9-485E-A933-6F24D61DF674}" destId="{7E526891-7EDE-4AD0-A10C-78449E9C8E6B}" srcOrd="1" destOrd="0" presId="urn:microsoft.com/office/officeart/2008/layout/NameandTitleOrganizationalChart"/>
    <dgm:cxn modelId="{2938172F-FD18-4DCB-A506-B81E53B2EFC2}" type="presOf" srcId="{797141F3-3857-41CA-81EE-3C9644C76ADD}" destId="{C35D4B44-1DB3-4918-89E9-EE1861171FE4}" srcOrd="0" destOrd="0" presId="urn:microsoft.com/office/officeart/2008/layout/NameandTitleOrganizationalChart"/>
    <dgm:cxn modelId="{8E1775EC-FEDF-494E-9958-52D2915173F0}" srcId="{54731671-5836-4401-A5A5-CEED465700AE}" destId="{4725DA50-8393-45CD-9969-B6F825AF7F19}" srcOrd="0" destOrd="0" parTransId="{9878D5A0-5143-4A24-A81F-4D61E3744A06}" sibTransId="{C94FF4AB-F793-48D8-93EB-03403DD087D6}"/>
    <dgm:cxn modelId="{4FEBA384-2386-4F17-8EF4-D1325C0039BB}" type="presOf" srcId="{54731671-5836-4401-A5A5-CEED465700AE}" destId="{3686D93A-D1B4-4780-859C-E0C26612B90A}" srcOrd="0" destOrd="0" presId="urn:microsoft.com/office/officeart/2008/layout/NameandTitleOrganizationalChart"/>
    <dgm:cxn modelId="{1A84BF77-5529-441E-A639-638B00598FAC}" type="presOf" srcId="{A42BE0AA-A3AD-4B92-9E2E-334648F02A34}" destId="{F7619440-0572-4C7C-B6A8-81BB958CC655}" srcOrd="0" destOrd="0" presId="urn:microsoft.com/office/officeart/2008/layout/NameandTitleOrganizationalChart"/>
    <dgm:cxn modelId="{DA27B4EB-27F7-4DE2-B9AE-A3DB47065C10}" srcId="{8DD56728-C2D2-4B7B-ABF8-CCD9E74E3371}" destId="{54731671-5836-4401-A5A5-CEED465700AE}" srcOrd="0" destOrd="0" parTransId="{0CA82232-13F2-4F92-8DA5-8C24E4AA5A1C}" sibTransId="{27601B57-477A-47F0-9AFB-3601C3888607}"/>
    <dgm:cxn modelId="{A0D46318-79FD-4800-AA99-619427AAB3EE}" type="presOf" srcId="{54731671-5836-4401-A5A5-CEED465700AE}" destId="{7E10C471-7941-4EAB-BA30-0D47E4C939D7}" srcOrd="1" destOrd="0" presId="urn:microsoft.com/office/officeart/2008/layout/NameandTitleOrganizationalChart"/>
    <dgm:cxn modelId="{96898F60-EB58-4595-AE6F-A4708F92B257}" type="presOf" srcId="{0EEB061F-629B-41C6-A7C5-370313899BC7}" destId="{F0A90B04-9D89-4F07-B021-15A4E46DE3BA}" srcOrd="0" destOrd="0" presId="urn:microsoft.com/office/officeart/2008/layout/NameandTitleOrganizationalChart"/>
    <dgm:cxn modelId="{DDF6BAD7-BB29-472E-B49D-38A86D90EC11}" type="presOf" srcId="{DEE865E0-048D-4922-8D48-73CBCBC87C90}" destId="{DCB83738-4943-42DA-9F95-B71EF7FC211B}" srcOrd="0" destOrd="0" presId="urn:microsoft.com/office/officeart/2008/layout/NameandTitleOrganizationalChart"/>
    <dgm:cxn modelId="{B878FFA2-3B19-4601-8B9D-FFB938588832}" type="presOf" srcId="{6A18ACCE-444C-4AF7-8CAF-D6E2155F29E4}" destId="{2CDACD4A-71E3-4DA8-9D66-4D967E34D4D9}" srcOrd="0" destOrd="0" presId="urn:microsoft.com/office/officeart/2008/layout/NameandTitleOrganizationalChart"/>
    <dgm:cxn modelId="{7FF82827-9BA6-4F01-8DE6-7132DE96325D}" srcId="{54731671-5836-4401-A5A5-CEED465700AE}" destId="{EEBE0D55-0D4A-4CAC-B4E9-D9BD33210D2A}" srcOrd="5" destOrd="0" parTransId="{02CAB89B-03BF-4357-B044-1659896C4CD9}" sibTransId="{437C7AA5-E0FB-4F07-92E3-2B2569F22323}"/>
    <dgm:cxn modelId="{604C57C8-E8F4-48B2-88B6-39CA7221D96D}" type="presOf" srcId="{10A23F83-3B9F-4FFC-B598-20C022C74B35}" destId="{4E223B76-EFD5-4809-B271-A0FE2AF321A8}" srcOrd="0" destOrd="0" presId="urn:microsoft.com/office/officeart/2008/layout/NameandTitleOrganizationalChart"/>
    <dgm:cxn modelId="{A36F8BEE-13E5-48E7-926E-8E73CD14C22E}" type="presOf" srcId="{06D5F4F3-6812-418B-A170-6CB589DA0935}" destId="{286D1F6F-ACFD-4D81-9A32-E909D7B909B8}" srcOrd="0" destOrd="0" presId="urn:microsoft.com/office/officeart/2008/layout/NameandTitleOrganizationalChart"/>
    <dgm:cxn modelId="{A44CD16B-F262-4674-95CA-01B430B3EAA3}" type="presOf" srcId="{3E61D64B-1AA5-4601-9576-9F40B7F6F109}" destId="{F3BE5DE8-2620-4326-BD06-6036117B31BB}" srcOrd="1" destOrd="0" presId="urn:microsoft.com/office/officeart/2008/layout/NameandTitleOrganizationalChart"/>
    <dgm:cxn modelId="{B8002E9B-A10B-4E7E-B965-CBC516537201}" type="presOf" srcId="{0EEB061F-629B-41C6-A7C5-370313899BC7}" destId="{97D492DF-DA1E-4BF7-9239-12C80D19A15A}" srcOrd="1" destOrd="0" presId="urn:microsoft.com/office/officeart/2008/layout/NameandTitleOrganizationalChart"/>
    <dgm:cxn modelId="{86C142C1-3666-4AD5-8B55-043C841FA06E}" type="presOf" srcId="{02CAB89B-03BF-4357-B044-1659896C4CD9}" destId="{EB0B6D52-8D66-42FB-B258-8262B668B611}" srcOrd="0" destOrd="0" presId="urn:microsoft.com/office/officeart/2008/layout/NameandTitleOrganizationalChart"/>
    <dgm:cxn modelId="{2ACBA3A0-C7E2-4268-9531-FBBDE6746EA3}" type="presOf" srcId="{921F0F96-6D1D-4EFA-BE6C-751835EBEE9A}" destId="{B732626A-1B45-4211-A671-A173A4460084}" srcOrd="1" destOrd="0" presId="urn:microsoft.com/office/officeart/2008/layout/NameandTitleOrganizationalChart"/>
    <dgm:cxn modelId="{2BEDA457-9B51-4498-B981-5E1011D59AF4}" type="presOf" srcId="{7A493CF2-9859-46B4-90EE-7394EA2D3007}" destId="{4EFD663A-50E0-4199-B89B-690FB75D3827}" srcOrd="0" destOrd="0" presId="urn:microsoft.com/office/officeart/2008/layout/NameandTitleOrganizationalChart"/>
    <dgm:cxn modelId="{16781F92-26B9-4EB0-9EA8-43BE47FB3346}" type="presOf" srcId="{B9C6DFD4-98B4-4163-A734-BF4A1A5C3696}" destId="{B4EE3F85-FABF-4DDA-9A03-2E77F287EB2B}" srcOrd="0" destOrd="0" presId="urn:microsoft.com/office/officeart/2008/layout/NameandTitleOrganizationalChart"/>
    <dgm:cxn modelId="{DCB54952-5A43-4AA3-B890-80ACA971F966}" type="presOf" srcId="{F93DD4F7-29B9-485E-A933-6F24D61DF674}" destId="{C2A25893-B0B7-4B89-96A2-43369F64F243}" srcOrd="0" destOrd="0" presId="urn:microsoft.com/office/officeart/2008/layout/NameandTitleOrganizationalChart"/>
    <dgm:cxn modelId="{8BFCD0E9-C04A-4A0B-961A-E8E8EF12A602}" srcId="{EEBE0D55-0D4A-4CAC-B4E9-D9BD33210D2A}" destId="{24CD3B81-7424-4E11-856F-9C5D3E78081A}" srcOrd="1" destOrd="0" parTransId="{A42BE0AA-A3AD-4B92-9E2E-334648F02A34}" sibTransId="{A8FEA7EB-5BDC-4D65-BB28-1D089570F4B4}"/>
    <dgm:cxn modelId="{5892B9C3-0B28-48A5-A834-540CC1A3FF77}" type="presOf" srcId="{43DAE309-415B-4739-B1F4-95D8060D2406}" destId="{ADD66765-0D4A-43AC-B680-01ED08F833B3}" srcOrd="0" destOrd="0" presId="urn:microsoft.com/office/officeart/2008/layout/NameandTitleOrganizationalChart"/>
    <dgm:cxn modelId="{A8CC79CB-9D9D-4086-ACF5-3E8431638D77}" type="presOf" srcId="{1BC250C4-6FB1-4BE2-A94E-DBC03125552E}" destId="{B689121D-3C5C-4B8A-98DD-BD466D738FA8}" srcOrd="0" destOrd="0" presId="urn:microsoft.com/office/officeart/2008/layout/NameandTitleOrganizationalChart"/>
    <dgm:cxn modelId="{A004DDE7-6F4C-4072-9192-70AD31326256}" type="presOf" srcId="{3AC6A46A-9FBE-4379-99A9-254E259E6CD9}" destId="{E2100F59-529E-4DDB-8DC8-7061D3C5CE11}" srcOrd="0" destOrd="0" presId="urn:microsoft.com/office/officeart/2008/layout/NameandTitleOrganizationalChart"/>
    <dgm:cxn modelId="{89790C1B-7753-436F-9E48-AFFC026E41E9}" type="presOf" srcId="{E0B353A5-031B-43D9-92A4-E55945C0E331}" destId="{B48F8E66-4EFF-4ACC-AB21-5B23E352AD72}" srcOrd="1" destOrd="0" presId="urn:microsoft.com/office/officeart/2008/layout/NameandTitleOrganizationalChart"/>
    <dgm:cxn modelId="{8D4FE572-A9FF-4464-8D12-BCBEE04F303E}" type="presOf" srcId="{EEBE0D55-0D4A-4CAC-B4E9-D9BD33210D2A}" destId="{1B7E13B1-F218-4F27-BE19-2B2866B046D7}" srcOrd="1" destOrd="0" presId="urn:microsoft.com/office/officeart/2008/layout/NameandTitleOrganizationalChart"/>
    <dgm:cxn modelId="{0B637A70-7789-4E44-A4E3-BD5110CD37FD}" type="presOf" srcId="{7386DEE9-86BE-4D6F-9D3D-BDA0B3423648}" destId="{EDD8E5E9-48A8-4800-8821-4FDB2A73890F}" srcOrd="0" destOrd="0" presId="urn:microsoft.com/office/officeart/2008/layout/NameandTitleOrganizationalChart"/>
    <dgm:cxn modelId="{5FFE51BD-6638-4E3D-ADDB-0776E2E21A19}" srcId="{54731671-5836-4401-A5A5-CEED465700AE}" destId="{3E61D64B-1AA5-4601-9576-9F40B7F6F109}" srcOrd="3" destOrd="0" parTransId="{797141F3-3857-41CA-81EE-3C9644C76ADD}" sibTransId="{7386DEE9-86BE-4D6F-9D3D-BDA0B3423648}"/>
    <dgm:cxn modelId="{02FE5721-AFEE-42A5-A075-F3A758B77EBE}" type="presOf" srcId="{4725DA50-8393-45CD-9969-B6F825AF7F19}" destId="{45FDE6ED-B03E-46F2-AD4F-89BDC4C3A94B}" srcOrd="0" destOrd="0" presId="urn:microsoft.com/office/officeart/2008/layout/NameandTitleOrganizationalChart"/>
    <dgm:cxn modelId="{2523134F-3AB8-4947-B68B-F9DB6A645197}" type="presOf" srcId="{0EB9F02D-797B-4484-95E1-5351B71F926D}" destId="{FC50FB2C-9B69-4ADE-9CB7-1C60B57B8ACC}" srcOrd="0" destOrd="0" presId="urn:microsoft.com/office/officeart/2008/layout/NameandTitleOrganizationalChart"/>
    <dgm:cxn modelId="{4B4A22C8-FE24-4163-9378-69F8B878DA6D}" type="presOf" srcId="{B805A43A-9C13-42A5-9294-024AFE6C1F7C}" destId="{74B397B9-BF4D-4730-9C54-86E101C75463}" srcOrd="0" destOrd="0" presId="urn:microsoft.com/office/officeart/2008/layout/NameandTitleOrganizationalChart"/>
    <dgm:cxn modelId="{E1C3B7F6-BC41-4959-8E65-EF91C90C83FD}" type="presOf" srcId="{109263FB-F812-443B-97FF-16223E6C61E9}" destId="{26F86B9E-15F6-4318-8024-F02C1A6CB8C0}" srcOrd="0" destOrd="0" presId="urn:microsoft.com/office/officeart/2008/layout/NameandTitleOrganizationalChart"/>
    <dgm:cxn modelId="{0808955D-E3E7-40D9-A519-4C202AE8CB54}" type="presOf" srcId="{CC75B549-E644-472C-AE8F-CD3C06D0C142}" destId="{4F1A9EB3-F182-4223-BD03-8C785222F094}" srcOrd="0" destOrd="0" presId="urn:microsoft.com/office/officeart/2008/layout/NameandTitleOrganizationalChart"/>
    <dgm:cxn modelId="{D130CFBF-62CF-4D7C-901D-D2022CE6054D}" srcId="{B9C6DFD4-98B4-4163-A734-BF4A1A5C3696}" destId="{0EEB061F-629B-41C6-A7C5-370313899BC7}" srcOrd="0" destOrd="0" parTransId="{EA2160FB-28E5-4B3C-B6FE-8E4CA64EBEED}" sibTransId="{7A493CF2-9859-46B4-90EE-7394EA2D3007}"/>
    <dgm:cxn modelId="{D3E3D1FE-823A-4892-9FDC-95724CB89A45}" srcId="{54731671-5836-4401-A5A5-CEED465700AE}" destId="{E0B353A5-031B-43D9-92A4-E55945C0E331}" srcOrd="1" destOrd="0" parTransId="{1DA0CEA1-74F6-4898-A8E9-680A20238D22}" sibTransId="{DEE865E0-048D-4922-8D48-73CBCBC87C90}"/>
    <dgm:cxn modelId="{010D3B5C-8532-4C39-8DD3-02BA97F80775}" type="presOf" srcId="{41A05D3D-664B-4C90-B5FD-0521B7F5AE8E}" destId="{198E4D00-1812-4B74-98F6-0B0E44E881CD}" srcOrd="0" destOrd="0" presId="urn:microsoft.com/office/officeart/2008/layout/NameandTitleOrganizationalChart"/>
    <dgm:cxn modelId="{BB23E805-9818-4A5F-9624-22651D0CD9D2}" srcId="{54731671-5836-4401-A5A5-CEED465700AE}" destId="{F93DD4F7-29B9-485E-A933-6F24D61DF674}" srcOrd="2" destOrd="0" parTransId="{41A05D3D-664B-4C90-B5FD-0521B7F5AE8E}" sibTransId="{109263FB-F812-443B-97FF-16223E6C61E9}"/>
    <dgm:cxn modelId="{54A21A0F-0B46-489F-BE50-A817F8DDCC44}" type="presOf" srcId="{8DD56728-C2D2-4B7B-ABF8-CCD9E74E3371}" destId="{54E62D9C-2715-4B59-ACAA-7FDEF8F0C96E}" srcOrd="0" destOrd="0" presId="urn:microsoft.com/office/officeart/2008/layout/NameandTitleOrganizationalChart"/>
    <dgm:cxn modelId="{861F45B6-61AA-4286-BF68-951286A40C36}" srcId="{54731671-5836-4401-A5A5-CEED465700AE}" destId="{B805A43A-9C13-42A5-9294-024AFE6C1F7C}" srcOrd="4" destOrd="0" parTransId="{0EB9F02D-797B-4484-95E1-5351B71F926D}" sibTransId="{B27B7161-5937-44DB-8EAE-F339E1F1FF04}"/>
    <dgm:cxn modelId="{0596F707-A36B-4328-93FB-957445B84600}" type="presOf" srcId="{E0B353A5-031B-43D9-92A4-E55945C0E331}" destId="{B2C77A69-BD1E-4188-B09E-66203BCFE852}" srcOrd="0" destOrd="0" presId="urn:microsoft.com/office/officeart/2008/layout/NameandTitleOrganizationalChart"/>
    <dgm:cxn modelId="{43114481-65D8-461E-983B-4BA3D98D38C3}" type="presOf" srcId="{EF5E1E76-ED66-4060-91D6-1E003B6F45BB}" destId="{ECA65B0B-70F5-454A-8C38-0FB7BA3A4007}" srcOrd="0" destOrd="0" presId="urn:microsoft.com/office/officeart/2008/layout/NameandTitleOrganizationalChart"/>
    <dgm:cxn modelId="{EF7754C5-3953-47E2-A2EE-577A2F8D950A}" type="presOf" srcId="{4725DA50-8393-45CD-9969-B6F825AF7F19}" destId="{12C54A64-0C5C-4C69-AE28-332C538C0D94}" srcOrd="1" destOrd="0" presId="urn:microsoft.com/office/officeart/2008/layout/NameandTitleOrganizationalChart"/>
    <dgm:cxn modelId="{E35A9224-0D40-4AFD-91FE-5D0298AB5F0C}" srcId="{EEBE0D55-0D4A-4CAC-B4E9-D9BD33210D2A}" destId="{921F0F96-6D1D-4EFA-BE6C-751835EBEE9A}" srcOrd="0" destOrd="0" parTransId="{F7603137-58AC-44EA-AB85-F4BEB6D4EDD1}" sibTransId="{06D5F4F3-6812-418B-A170-6CB589DA0935}"/>
    <dgm:cxn modelId="{1E202903-D6C0-49DD-A08A-11D7EE73DE79}" type="presOf" srcId="{9878D5A0-5143-4A24-A81F-4D61E3744A06}" destId="{821E1C1F-2A45-4012-959D-4109D64A5978}" srcOrd="0" destOrd="0" presId="urn:microsoft.com/office/officeart/2008/layout/NameandTitleOrganizationalChart"/>
    <dgm:cxn modelId="{FBDB6FAC-7EC1-4033-B9B3-892D1F176879}" type="presOf" srcId="{EEBE0D55-0D4A-4CAC-B4E9-D9BD33210D2A}" destId="{9B078EDA-7880-4DED-BD94-7D345B7A5808}" srcOrd="0" destOrd="0" presId="urn:microsoft.com/office/officeart/2008/layout/NameandTitleOrganizationalChart"/>
    <dgm:cxn modelId="{FDC76FFE-A22F-4D1B-B5EC-F749B0469812}" type="presOf" srcId="{24CD3B81-7424-4E11-856F-9C5D3E78081A}" destId="{C72A4AB7-8CF8-4B69-8EE7-A348228E67CF}" srcOrd="0" destOrd="0" presId="urn:microsoft.com/office/officeart/2008/layout/NameandTitleOrganizationalChart"/>
    <dgm:cxn modelId="{56259438-FD9E-43D4-9C68-3268A8223E0F}" type="presOf" srcId="{437C7AA5-E0FB-4F07-92E3-2B2569F22323}" destId="{E451B8C2-DF00-47FF-8F88-2E400C52BEB0}" srcOrd="0" destOrd="0" presId="urn:microsoft.com/office/officeart/2008/layout/NameandTitleOrganizationalChart"/>
    <dgm:cxn modelId="{A9BD151F-3B0B-4C1E-BB17-B0A4014A26C3}" type="presOf" srcId="{A8FEA7EB-5BDC-4D65-BB28-1D089570F4B4}" destId="{4A964AEB-3EA5-4F06-B1E8-CD7944F15EBC}" srcOrd="0" destOrd="0" presId="urn:microsoft.com/office/officeart/2008/layout/NameandTitleOrganizationalChart"/>
    <dgm:cxn modelId="{4D42DD34-5C90-4F34-BC56-5C608BCBA8EC}" type="presOf" srcId="{1DA0CEA1-74F6-4898-A8E9-680A20238D22}" destId="{6955142F-7F4E-4283-8344-528E08679EB9}" srcOrd="0" destOrd="0" presId="urn:microsoft.com/office/officeart/2008/layout/NameandTitleOrganizationalChart"/>
    <dgm:cxn modelId="{D2E8A666-4602-463A-9221-91E5A632E6CC}" type="presOf" srcId="{27601B57-477A-47F0-9AFB-3601C3888607}" destId="{64911769-6F38-4FD6-BE18-E156EA17398F}" srcOrd="0" destOrd="0" presId="urn:microsoft.com/office/officeart/2008/layout/NameandTitleOrganizationalChart"/>
    <dgm:cxn modelId="{097C69E2-D214-4E74-B97B-F7CB19B8409C}" type="presParOf" srcId="{54E62D9C-2715-4B59-ACAA-7FDEF8F0C96E}" destId="{A31F2950-5A3C-4D27-9DA4-E2FD5A91CF78}" srcOrd="0" destOrd="0" presId="urn:microsoft.com/office/officeart/2008/layout/NameandTitleOrganizationalChart"/>
    <dgm:cxn modelId="{4258EBE0-6267-4271-B9E8-DF3D448511CC}" type="presParOf" srcId="{A31F2950-5A3C-4D27-9DA4-E2FD5A91CF78}" destId="{0DA52833-4783-4784-8376-E84128DDAC0E}" srcOrd="0" destOrd="0" presId="urn:microsoft.com/office/officeart/2008/layout/NameandTitleOrganizationalChart"/>
    <dgm:cxn modelId="{9A93B7ED-A0F8-455F-8441-CFF848AF1D04}" type="presParOf" srcId="{0DA52833-4783-4784-8376-E84128DDAC0E}" destId="{3686D93A-D1B4-4780-859C-E0C26612B90A}" srcOrd="0" destOrd="0" presId="urn:microsoft.com/office/officeart/2008/layout/NameandTitleOrganizationalChart"/>
    <dgm:cxn modelId="{9C271AE0-7B2F-4C1C-807A-DF0D5932A692}" type="presParOf" srcId="{0DA52833-4783-4784-8376-E84128DDAC0E}" destId="{64911769-6F38-4FD6-BE18-E156EA17398F}" srcOrd="1" destOrd="0" presId="urn:microsoft.com/office/officeart/2008/layout/NameandTitleOrganizationalChart"/>
    <dgm:cxn modelId="{14E8C4B8-5F72-4D4D-A0EC-783D92ECB57D}" type="presParOf" srcId="{0DA52833-4783-4784-8376-E84128DDAC0E}" destId="{7E10C471-7941-4EAB-BA30-0D47E4C939D7}" srcOrd="2" destOrd="0" presId="urn:microsoft.com/office/officeart/2008/layout/NameandTitleOrganizationalChart"/>
    <dgm:cxn modelId="{C499448A-3C05-47A2-A968-ABF22E95D662}" type="presParOf" srcId="{A31F2950-5A3C-4D27-9DA4-E2FD5A91CF78}" destId="{81B2B448-8FAB-4161-AD8C-8C6734C21705}" srcOrd="1" destOrd="0" presId="urn:microsoft.com/office/officeart/2008/layout/NameandTitleOrganizationalChart"/>
    <dgm:cxn modelId="{9DB8ADBD-5017-4F28-91ED-9976BA7C5EA8}" type="presParOf" srcId="{81B2B448-8FAB-4161-AD8C-8C6734C21705}" destId="{C35D4B44-1DB3-4918-89E9-EE1861171FE4}" srcOrd="0" destOrd="0" presId="urn:microsoft.com/office/officeart/2008/layout/NameandTitleOrganizationalChart"/>
    <dgm:cxn modelId="{448299E3-B58D-4CE4-84BF-D4C70828D5D1}" type="presParOf" srcId="{81B2B448-8FAB-4161-AD8C-8C6734C21705}" destId="{0B69C4B9-CEE9-4D79-80E0-372D227DA475}" srcOrd="1" destOrd="0" presId="urn:microsoft.com/office/officeart/2008/layout/NameandTitleOrganizationalChart"/>
    <dgm:cxn modelId="{CCC49022-ADFD-4B51-983D-20DF91F0E22A}" type="presParOf" srcId="{0B69C4B9-CEE9-4D79-80E0-372D227DA475}" destId="{C097E933-9968-4CE9-92B9-6E4C1B2D503A}" srcOrd="0" destOrd="0" presId="urn:microsoft.com/office/officeart/2008/layout/NameandTitleOrganizationalChart"/>
    <dgm:cxn modelId="{60C5EDEE-C5BB-48F9-89BF-A194399F89C3}" type="presParOf" srcId="{C097E933-9968-4CE9-92B9-6E4C1B2D503A}" destId="{43E53147-0976-4FF2-B844-98A634C5900E}" srcOrd="0" destOrd="0" presId="urn:microsoft.com/office/officeart/2008/layout/NameandTitleOrganizationalChart"/>
    <dgm:cxn modelId="{C95C76D0-C088-4DD5-AB5A-E230AEA95D84}" type="presParOf" srcId="{C097E933-9968-4CE9-92B9-6E4C1B2D503A}" destId="{EDD8E5E9-48A8-4800-8821-4FDB2A73890F}" srcOrd="1" destOrd="0" presId="urn:microsoft.com/office/officeart/2008/layout/NameandTitleOrganizationalChart"/>
    <dgm:cxn modelId="{73C0B05E-E8AD-43E9-B228-D044BCFA5F78}" type="presParOf" srcId="{C097E933-9968-4CE9-92B9-6E4C1B2D503A}" destId="{F3BE5DE8-2620-4326-BD06-6036117B31BB}" srcOrd="2" destOrd="0" presId="urn:microsoft.com/office/officeart/2008/layout/NameandTitleOrganizationalChart"/>
    <dgm:cxn modelId="{69F8BDD7-34E8-4784-B54E-D77F99DAF762}" type="presParOf" srcId="{0B69C4B9-CEE9-4D79-80E0-372D227DA475}" destId="{85CD6BD0-A328-43B5-8C15-91C3AD345878}" srcOrd="1" destOrd="0" presId="urn:microsoft.com/office/officeart/2008/layout/NameandTitleOrganizationalChart"/>
    <dgm:cxn modelId="{8CE1892D-3F53-4AE9-B9EA-2B1AC17C9C9F}" type="presParOf" srcId="{0B69C4B9-CEE9-4D79-80E0-372D227DA475}" destId="{4DC4F22B-9EC3-4AE2-9BC0-CFF9FB03AB39}" srcOrd="2" destOrd="0" presId="urn:microsoft.com/office/officeart/2008/layout/NameandTitleOrganizationalChart"/>
    <dgm:cxn modelId="{831A9F3B-2203-40E2-9EB1-9B0972DB89D4}" type="presParOf" srcId="{81B2B448-8FAB-4161-AD8C-8C6734C21705}" destId="{FC50FB2C-9B69-4ADE-9CB7-1C60B57B8ACC}" srcOrd="2" destOrd="0" presId="urn:microsoft.com/office/officeart/2008/layout/NameandTitleOrganizationalChart"/>
    <dgm:cxn modelId="{7761F2FA-081D-4692-9154-38030F5EE963}" type="presParOf" srcId="{81B2B448-8FAB-4161-AD8C-8C6734C21705}" destId="{9BAB8CC1-6DDE-4295-885B-AD78C0DFADC0}" srcOrd="3" destOrd="0" presId="urn:microsoft.com/office/officeart/2008/layout/NameandTitleOrganizationalChart"/>
    <dgm:cxn modelId="{740DED58-5879-4CB7-ABF1-FA4911CE3652}" type="presParOf" srcId="{9BAB8CC1-6DDE-4295-885B-AD78C0DFADC0}" destId="{A1496BAF-262C-47BE-A494-EC0921FB66A6}" srcOrd="0" destOrd="0" presId="urn:microsoft.com/office/officeart/2008/layout/NameandTitleOrganizationalChart"/>
    <dgm:cxn modelId="{A1291E4D-AE47-45C7-B062-5718B46D5A06}" type="presParOf" srcId="{A1496BAF-262C-47BE-A494-EC0921FB66A6}" destId="{74B397B9-BF4D-4730-9C54-86E101C75463}" srcOrd="0" destOrd="0" presId="urn:microsoft.com/office/officeart/2008/layout/NameandTitleOrganizationalChart"/>
    <dgm:cxn modelId="{A34449E4-A4D1-40F7-B221-CD3F543DEC83}" type="presParOf" srcId="{A1496BAF-262C-47BE-A494-EC0921FB66A6}" destId="{AF7B04E5-4871-489E-90D4-052F0AE4D44E}" srcOrd="1" destOrd="0" presId="urn:microsoft.com/office/officeart/2008/layout/NameandTitleOrganizationalChart"/>
    <dgm:cxn modelId="{14071920-A52E-4D62-A01F-CE394DC09F5B}" type="presParOf" srcId="{A1496BAF-262C-47BE-A494-EC0921FB66A6}" destId="{1C68500F-C0D0-4BBB-A41D-8F8CD88AE832}" srcOrd="2" destOrd="0" presId="urn:microsoft.com/office/officeart/2008/layout/NameandTitleOrganizationalChart"/>
    <dgm:cxn modelId="{EA82671D-6921-4CFB-A93F-E42088CAB89B}" type="presParOf" srcId="{9BAB8CC1-6DDE-4295-885B-AD78C0DFADC0}" destId="{3A8B543C-F8C6-4DF2-8278-89CEB5F8CC4F}" srcOrd="1" destOrd="0" presId="urn:microsoft.com/office/officeart/2008/layout/NameandTitleOrganizationalChart"/>
    <dgm:cxn modelId="{02D4939F-07E7-4751-8E7C-3FAEAA2C7AA6}" type="presParOf" srcId="{9BAB8CC1-6DDE-4295-885B-AD78C0DFADC0}" destId="{C941CF23-1AC5-40E8-8AC1-977946D6CE71}" srcOrd="2" destOrd="0" presId="urn:microsoft.com/office/officeart/2008/layout/NameandTitleOrganizationalChart"/>
    <dgm:cxn modelId="{0409FD01-E8BB-4549-A023-2195FE8FFEE2}" type="presParOf" srcId="{81B2B448-8FAB-4161-AD8C-8C6734C21705}" destId="{EB0B6D52-8D66-42FB-B258-8262B668B611}" srcOrd="4" destOrd="0" presId="urn:microsoft.com/office/officeart/2008/layout/NameandTitleOrganizationalChart"/>
    <dgm:cxn modelId="{9E44E46B-42BB-4721-BC8B-BB899147522F}" type="presParOf" srcId="{81B2B448-8FAB-4161-AD8C-8C6734C21705}" destId="{1EF052AE-3FA7-4409-9427-92C6AE31CAEB}" srcOrd="5" destOrd="0" presId="urn:microsoft.com/office/officeart/2008/layout/NameandTitleOrganizationalChart"/>
    <dgm:cxn modelId="{AD732BCF-26DB-42E2-9AE4-2B239154A501}" type="presParOf" srcId="{1EF052AE-3FA7-4409-9427-92C6AE31CAEB}" destId="{2B2DD7B4-9E08-4ACE-9DC3-D04368949BA4}" srcOrd="0" destOrd="0" presId="urn:microsoft.com/office/officeart/2008/layout/NameandTitleOrganizationalChart"/>
    <dgm:cxn modelId="{BB6E0427-45D8-4F3F-A5E1-35AABEB95DB9}" type="presParOf" srcId="{2B2DD7B4-9E08-4ACE-9DC3-D04368949BA4}" destId="{9B078EDA-7880-4DED-BD94-7D345B7A5808}" srcOrd="0" destOrd="0" presId="urn:microsoft.com/office/officeart/2008/layout/NameandTitleOrganizationalChart"/>
    <dgm:cxn modelId="{7D3AADDF-A75B-4F99-8CD5-9776F8341656}" type="presParOf" srcId="{2B2DD7B4-9E08-4ACE-9DC3-D04368949BA4}" destId="{E451B8C2-DF00-47FF-8F88-2E400C52BEB0}" srcOrd="1" destOrd="0" presId="urn:microsoft.com/office/officeart/2008/layout/NameandTitleOrganizationalChart"/>
    <dgm:cxn modelId="{4C6F04D4-8E13-49EC-A3DA-3DD6025F7B1D}" type="presParOf" srcId="{2B2DD7B4-9E08-4ACE-9DC3-D04368949BA4}" destId="{1B7E13B1-F218-4F27-BE19-2B2866B046D7}" srcOrd="2" destOrd="0" presId="urn:microsoft.com/office/officeart/2008/layout/NameandTitleOrganizationalChart"/>
    <dgm:cxn modelId="{FBD391C9-0A8E-45D4-8449-46EA84344B9D}" type="presParOf" srcId="{1EF052AE-3FA7-4409-9427-92C6AE31CAEB}" destId="{A03E0962-C829-40C1-BD28-EA57F87350A9}" srcOrd="1" destOrd="0" presId="urn:microsoft.com/office/officeart/2008/layout/NameandTitleOrganizationalChart"/>
    <dgm:cxn modelId="{0DF21143-F00A-46FD-9060-499549FEB06A}" type="presParOf" srcId="{A03E0962-C829-40C1-BD28-EA57F87350A9}" destId="{75289DE4-AEC6-498E-B3FB-B65054D0EB53}" srcOrd="0" destOrd="0" presId="urn:microsoft.com/office/officeart/2008/layout/NameandTitleOrganizationalChart"/>
    <dgm:cxn modelId="{C18E915D-4F6E-4D4E-9A6E-8BE535E7B9EE}" type="presParOf" srcId="{A03E0962-C829-40C1-BD28-EA57F87350A9}" destId="{39ABFF22-B48A-4413-9AED-5A3C6982297F}" srcOrd="1" destOrd="0" presId="urn:microsoft.com/office/officeart/2008/layout/NameandTitleOrganizationalChart"/>
    <dgm:cxn modelId="{49ACA80F-2F6E-482A-A5B0-1A0E5929EB0E}" type="presParOf" srcId="{39ABFF22-B48A-4413-9AED-5A3C6982297F}" destId="{83B8EA0B-2A9F-4009-8029-7FF53EF707F9}" srcOrd="0" destOrd="0" presId="urn:microsoft.com/office/officeart/2008/layout/NameandTitleOrganizationalChart"/>
    <dgm:cxn modelId="{7A88243C-D64F-4C7A-9865-D8AE85329B69}" type="presParOf" srcId="{83B8EA0B-2A9F-4009-8029-7FF53EF707F9}" destId="{AEDCB40E-76FB-4D8E-9995-6B610D083BE2}" srcOrd="0" destOrd="0" presId="urn:microsoft.com/office/officeart/2008/layout/NameandTitleOrganizationalChart"/>
    <dgm:cxn modelId="{FEB6F4A4-DB1D-44ED-9444-56FE5E055BDF}" type="presParOf" srcId="{83B8EA0B-2A9F-4009-8029-7FF53EF707F9}" destId="{286D1F6F-ACFD-4D81-9A32-E909D7B909B8}" srcOrd="1" destOrd="0" presId="urn:microsoft.com/office/officeart/2008/layout/NameandTitleOrganizationalChart"/>
    <dgm:cxn modelId="{E6EDFDF5-D8F8-480F-B9FE-6056C40637C8}" type="presParOf" srcId="{83B8EA0B-2A9F-4009-8029-7FF53EF707F9}" destId="{B732626A-1B45-4211-A671-A173A4460084}" srcOrd="2" destOrd="0" presId="urn:microsoft.com/office/officeart/2008/layout/NameandTitleOrganizationalChart"/>
    <dgm:cxn modelId="{7E7BD75E-C641-4A4D-874F-899BCF8A78F7}" type="presParOf" srcId="{39ABFF22-B48A-4413-9AED-5A3C6982297F}" destId="{8C262C86-0B82-4912-82CC-ECCD13BC5F23}" srcOrd="1" destOrd="0" presId="urn:microsoft.com/office/officeart/2008/layout/NameandTitleOrganizationalChart"/>
    <dgm:cxn modelId="{D64477EC-7FA6-4FC6-B439-E7ECF4430DFF}" type="presParOf" srcId="{39ABFF22-B48A-4413-9AED-5A3C6982297F}" destId="{6B4468D1-E68F-4DC5-9A05-0913B4358DAB}" srcOrd="2" destOrd="0" presId="urn:microsoft.com/office/officeart/2008/layout/NameandTitleOrganizationalChart"/>
    <dgm:cxn modelId="{ED0D72F5-6B14-4AA9-BF18-7998534FE9AC}" type="presParOf" srcId="{A03E0962-C829-40C1-BD28-EA57F87350A9}" destId="{F7619440-0572-4C7C-B6A8-81BB958CC655}" srcOrd="2" destOrd="0" presId="urn:microsoft.com/office/officeart/2008/layout/NameandTitleOrganizationalChart"/>
    <dgm:cxn modelId="{DD7CA543-C8A5-4AB8-9EE6-BB2B53B01DB4}" type="presParOf" srcId="{A03E0962-C829-40C1-BD28-EA57F87350A9}" destId="{F4CCF413-642F-4654-BE84-456FB77F71D1}" srcOrd="3" destOrd="0" presId="urn:microsoft.com/office/officeart/2008/layout/NameandTitleOrganizationalChart"/>
    <dgm:cxn modelId="{269217D4-E4FB-4EAA-B7B7-071697454D89}" type="presParOf" srcId="{F4CCF413-642F-4654-BE84-456FB77F71D1}" destId="{33CD3C74-1511-4BCD-B588-E47E71AC1E39}" srcOrd="0" destOrd="0" presId="urn:microsoft.com/office/officeart/2008/layout/NameandTitleOrganizationalChart"/>
    <dgm:cxn modelId="{4E39FC35-E1B8-4AD5-B3F2-2A13A60AA0EC}" type="presParOf" srcId="{33CD3C74-1511-4BCD-B588-E47E71AC1E39}" destId="{C72A4AB7-8CF8-4B69-8EE7-A348228E67CF}" srcOrd="0" destOrd="0" presId="urn:microsoft.com/office/officeart/2008/layout/NameandTitleOrganizationalChart"/>
    <dgm:cxn modelId="{74C5AEDC-00FB-4C51-AF91-6442F7685462}" type="presParOf" srcId="{33CD3C74-1511-4BCD-B588-E47E71AC1E39}" destId="{4A964AEB-3EA5-4F06-B1E8-CD7944F15EBC}" srcOrd="1" destOrd="0" presId="urn:microsoft.com/office/officeart/2008/layout/NameandTitleOrganizationalChart"/>
    <dgm:cxn modelId="{DAF9CBB9-5EF8-41F2-9F84-9AC70E2F8EBD}" type="presParOf" srcId="{33CD3C74-1511-4BCD-B588-E47E71AC1E39}" destId="{0AEB1EB7-E06A-4478-A2A5-E596847A48AE}" srcOrd="2" destOrd="0" presId="urn:microsoft.com/office/officeart/2008/layout/NameandTitleOrganizationalChart"/>
    <dgm:cxn modelId="{A29F349D-FF3B-4AA7-B81F-A470A78C1CE4}" type="presParOf" srcId="{F4CCF413-642F-4654-BE84-456FB77F71D1}" destId="{9449A9C4-FE9F-47C0-ADCA-524CDE045218}" srcOrd="1" destOrd="0" presId="urn:microsoft.com/office/officeart/2008/layout/NameandTitleOrganizationalChart"/>
    <dgm:cxn modelId="{E4985F22-2BE9-4BA9-805E-17A6CCD3F7B6}" type="presParOf" srcId="{F4CCF413-642F-4654-BE84-456FB77F71D1}" destId="{0841A2C1-1C6C-4807-95F4-450431396156}" srcOrd="2" destOrd="0" presId="urn:microsoft.com/office/officeart/2008/layout/NameandTitleOrganizationalChart"/>
    <dgm:cxn modelId="{BA155C89-C12C-459B-A435-69216103F770}" type="presParOf" srcId="{A03E0962-C829-40C1-BD28-EA57F87350A9}" destId="{4E223B76-EFD5-4809-B271-A0FE2AF321A8}" srcOrd="4" destOrd="0" presId="urn:microsoft.com/office/officeart/2008/layout/NameandTitleOrganizationalChart"/>
    <dgm:cxn modelId="{E4F9D417-C81C-4DFC-987C-DCF2AF332009}" type="presParOf" srcId="{A03E0962-C829-40C1-BD28-EA57F87350A9}" destId="{BBC93278-E0B3-4E39-9240-7FC4AEF45622}" srcOrd="5" destOrd="0" presId="urn:microsoft.com/office/officeart/2008/layout/NameandTitleOrganizationalChart"/>
    <dgm:cxn modelId="{6AA001AD-1F34-45C7-84A4-2D6598383C8B}" type="presParOf" srcId="{BBC93278-E0B3-4E39-9240-7FC4AEF45622}" destId="{85403DEB-8BC5-4C42-B6FA-3038D2B111A9}" srcOrd="0" destOrd="0" presId="urn:microsoft.com/office/officeart/2008/layout/NameandTitleOrganizationalChart"/>
    <dgm:cxn modelId="{CD62C58C-FB50-480D-BD5D-CB74D5990E4B}" type="presParOf" srcId="{85403DEB-8BC5-4C42-B6FA-3038D2B111A9}" destId="{2CDACD4A-71E3-4DA8-9D66-4D967E34D4D9}" srcOrd="0" destOrd="0" presId="urn:microsoft.com/office/officeart/2008/layout/NameandTitleOrganizationalChart"/>
    <dgm:cxn modelId="{7F6B721F-AAEC-408A-B17B-228656C51D49}" type="presParOf" srcId="{85403DEB-8BC5-4C42-B6FA-3038D2B111A9}" destId="{4F1A9EB3-F182-4223-BD03-8C785222F094}" srcOrd="1" destOrd="0" presId="urn:microsoft.com/office/officeart/2008/layout/NameandTitleOrganizationalChart"/>
    <dgm:cxn modelId="{EFCC87A8-A5A6-4694-97F9-101B51A12D34}" type="presParOf" srcId="{85403DEB-8BC5-4C42-B6FA-3038D2B111A9}" destId="{6B91270E-159D-45F4-BAD5-EB27B96BA7DC}" srcOrd="2" destOrd="0" presId="urn:microsoft.com/office/officeart/2008/layout/NameandTitleOrganizationalChart"/>
    <dgm:cxn modelId="{AFA61295-FCC6-495C-B5A9-2281459CB09D}" type="presParOf" srcId="{BBC93278-E0B3-4E39-9240-7FC4AEF45622}" destId="{92A89378-262B-4DD4-AFF6-B3BDB861BB45}" srcOrd="1" destOrd="0" presId="urn:microsoft.com/office/officeart/2008/layout/NameandTitleOrganizationalChart"/>
    <dgm:cxn modelId="{315D9F50-B1B0-46C4-8F5E-A940D48F21A8}" type="presParOf" srcId="{BBC93278-E0B3-4E39-9240-7FC4AEF45622}" destId="{24D93BFC-6A27-44C3-90AC-7A8F4436FA2A}" srcOrd="2" destOrd="0" presId="urn:microsoft.com/office/officeart/2008/layout/NameandTitleOrganizationalChart"/>
    <dgm:cxn modelId="{3A3D411E-26F7-4226-990C-1C5BEEF8F337}" type="presParOf" srcId="{1EF052AE-3FA7-4409-9427-92C6AE31CAEB}" destId="{F6779AE2-AC49-4235-A456-3C4A824EB71E}" srcOrd="2" destOrd="0" presId="urn:microsoft.com/office/officeart/2008/layout/NameandTitleOrganizationalChart"/>
    <dgm:cxn modelId="{8B58072B-94BE-46B5-B13F-E0BBBE82FAA7}" type="presParOf" srcId="{81B2B448-8FAB-4161-AD8C-8C6734C21705}" destId="{EED24475-C752-40CF-94E7-C16CA754D690}" srcOrd="6" destOrd="0" presId="urn:microsoft.com/office/officeart/2008/layout/NameandTitleOrganizationalChart"/>
    <dgm:cxn modelId="{AD8590D2-3610-4C55-955D-A9CE0AB52636}" type="presParOf" srcId="{81B2B448-8FAB-4161-AD8C-8C6734C21705}" destId="{7474700A-9BFB-4FA9-8172-2411B8512382}" srcOrd="7" destOrd="0" presId="urn:microsoft.com/office/officeart/2008/layout/NameandTitleOrganizationalChart"/>
    <dgm:cxn modelId="{C4733A15-BAC3-45FA-95FD-E13C2CE34AF9}" type="presParOf" srcId="{7474700A-9BFB-4FA9-8172-2411B8512382}" destId="{99E9EAA3-7E69-4FCD-BC9C-4177BB1CFC8F}" srcOrd="0" destOrd="0" presId="urn:microsoft.com/office/officeart/2008/layout/NameandTitleOrganizationalChart"/>
    <dgm:cxn modelId="{6234E911-E8B5-42A6-994D-39241E1576EB}" type="presParOf" srcId="{99E9EAA3-7E69-4FCD-BC9C-4177BB1CFC8F}" destId="{B4EE3F85-FABF-4DDA-9A03-2E77F287EB2B}" srcOrd="0" destOrd="0" presId="urn:microsoft.com/office/officeart/2008/layout/NameandTitleOrganizationalChart"/>
    <dgm:cxn modelId="{3FA0D16E-74B4-4A5F-AA5B-204112364FDE}" type="presParOf" srcId="{99E9EAA3-7E69-4FCD-BC9C-4177BB1CFC8F}" destId="{E2100F59-529E-4DDB-8DC8-7061D3C5CE11}" srcOrd="1" destOrd="0" presId="urn:microsoft.com/office/officeart/2008/layout/NameandTitleOrganizationalChart"/>
    <dgm:cxn modelId="{B2D3C654-A3DB-44E8-89CB-4A63B52CDF30}" type="presParOf" srcId="{99E9EAA3-7E69-4FCD-BC9C-4177BB1CFC8F}" destId="{A9F5B012-A64D-41FF-AF34-CE6DCEAA5165}" srcOrd="2" destOrd="0" presId="urn:microsoft.com/office/officeart/2008/layout/NameandTitleOrganizationalChart"/>
    <dgm:cxn modelId="{AB146B6B-B1B1-4E8D-8724-E0CD6DEC51CF}" type="presParOf" srcId="{7474700A-9BFB-4FA9-8172-2411B8512382}" destId="{14064B1F-DE72-4765-93DE-D683204D8DBC}" srcOrd="1" destOrd="0" presId="urn:microsoft.com/office/officeart/2008/layout/NameandTitleOrganizationalChart"/>
    <dgm:cxn modelId="{8301A46F-6575-4407-AF1B-D7BD4BE11D41}" type="presParOf" srcId="{14064B1F-DE72-4765-93DE-D683204D8DBC}" destId="{9E39FE3A-EB22-4FE7-8084-C26F4CF0B6CC}" srcOrd="0" destOrd="0" presId="urn:microsoft.com/office/officeart/2008/layout/NameandTitleOrganizationalChart"/>
    <dgm:cxn modelId="{7B9450B9-C73A-4AB1-908C-76AA11D423A3}" type="presParOf" srcId="{14064B1F-DE72-4765-93DE-D683204D8DBC}" destId="{7706A645-BC85-4555-8EE4-1B3A52A88FEC}" srcOrd="1" destOrd="0" presId="urn:microsoft.com/office/officeart/2008/layout/NameandTitleOrganizationalChart"/>
    <dgm:cxn modelId="{2AFFB4F4-219F-43DD-BB1A-828FF83CFCCE}" type="presParOf" srcId="{7706A645-BC85-4555-8EE4-1B3A52A88FEC}" destId="{E06077D2-F583-4C80-8879-EEA1DE08902D}" srcOrd="0" destOrd="0" presId="urn:microsoft.com/office/officeart/2008/layout/NameandTitleOrganizationalChart"/>
    <dgm:cxn modelId="{00A2E4D0-A733-483D-A14B-7673DA3F252F}" type="presParOf" srcId="{E06077D2-F583-4C80-8879-EEA1DE08902D}" destId="{F0A90B04-9D89-4F07-B021-15A4E46DE3BA}" srcOrd="0" destOrd="0" presId="urn:microsoft.com/office/officeart/2008/layout/NameandTitleOrganizationalChart"/>
    <dgm:cxn modelId="{71C05861-D5F6-4F3A-9D2C-CF7D47025573}" type="presParOf" srcId="{E06077D2-F583-4C80-8879-EEA1DE08902D}" destId="{4EFD663A-50E0-4199-B89B-690FB75D3827}" srcOrd="1" destOrd="0" presId="urn:microsoft.com/office/officeart/2008/layout/NameandTitleOrganizationalChart"/>
    <dgm:cxn modelId="{131718FD-7B1D-4A5C-A6FA-B70BB1A1A7F5}" type="presParOf" srcId="{E06077D2-F583-4C80-8879-EEA1DE08902D}" destId="{97D492DF-DA1E-4BF7-9239-12C80D19A15A}" srcOrd="2" destOrd="0" presId="urn:microsoft.com/office/officeart/2008/layout/NameandTitleOrganizationalChart"/>
    <dgm:cxn modelId="{446CDB0A-E997-425E-AF05-EF93C4B648CB}" type="presParOf" srcId="{7706A645-BC85-4555-8EE4-1B3A52A88FEC}" destId="{15085685-E455-4DBF-854A-C08B40D92DA9}" srcOrd="1" destOrd="0" presId="urn:microsoft.com/office/officeart/2008/layout/NameandTitleOrganizationalChart"/>
    <dgm:cxn modelId="{88941321-3ED3-4DCD-9D83-EC318CBB9FDF}" type="presParOf" srcId="{7706A645-BC85-4555-8EE4-1B3A52A88FEC}" destId="{8E73DC74-98DD-4246-8DF0-86DCABECE2DB}" srcOrd="2" destOrd="0" presId="urn:microsoft.com/office/officeart/2008/layout/NameandTitleOrganizationalChart"/>
    <dgm:cxn modelId="{0C309A08-1911-4E12-9756-E2888C535749}" type="presParOf" srcId="{14064B1F-DE72-4765-93DE-D683204D8DBC}" destId="{ADD66765-0D4A-43AC-B680-01ED08F833B3}" srcOrd="2" destOrd="0" presId="urn:microsoft.com/office/officeart/2008/layout/NameandTitleOrganizationalChart"/>
    <dgm:cxn modelId="{C3C52A67-9C5A-4BB0-9027-5A2822077773}" type="presParOf" srcId="{14064B1F-DE72-4765-93DE-D683204D8DBC}" destId="{D9139EAE-C7F2-4139-97E7-1C60C0176DC4}" srcOrd="3" destOrd="0" presId="urn:microsoft.com/office/officeart/2008/layout/NameandTitleOrganizationalChart"/>
    <dgm:cxn modelId="{0459DDFD-AD47-4B63-84BA-847E9A686640}" type="presParOf" srcId="{D9139EAE-C7F2-4139-97E7-1C60C0176DC4}" destId="{8B8167F0-F964-4121-8919-2F62739A8EDD}" srcOrd="0" destOrd="0" presId="urn:microsoft.com/office/officeart/2008/layout/NameandTitleOrganizationalChart"/>
    <dgm:cxn modelId="{7EE84BB8-E2D7-4EEC-9305-3897F54A86C4}" type="presParOf" srcId="{8B8167F0-F964-4121-8919-2F62739A8EDD}" destId="{ECA65B0B-70F5-454A-8C38-0FB7BA3A4007}" srcOrd="0" destOrd="0" presId="urn:microsoft.com/office/officeart/2008/layout/NameandTitleOrganizationalChart"/>
    <dgm:cxn modelId="{FA7DE7A3-0DE3-4296-9A97-90CCE2C78F1A}" type="presParOf" srcId="{8B8167F0-F964-4121-8919-2F62739A8EDD}" destId="{B689121D-3C5C-4B8A-98DD-BD466D738FA8}" srcOrd="1" destOrd="0" presId="urn:microsoft.com/office/officeart/2008/layout/NameandTitleOrganizationalChart"/>
    <dgm:cxn modelId="{22F4A407-BA00-4A63-B2A7-93302ED436A2}" type="presParOf" srcId="{8B8167F0-F964-4121-8919-2F62739A8EDD}" destId="{6AC6FA8A-7D56-4582-A5BA-5467DBC654A1}" srcOrd="2" destOrd="0" presId="urn:microsoft.com/office/officeart/2008/layout/NameandTitleOrganizationalChart"/>
    <dgm:cxn modelId="{F8BB105A-5B44-47E4-81D6-DA304D4A96F0}" type="presParOf" srcId="{D9139EAE-C7F2-4139-97E7-1C60C0176DC4}" destId="{9ED2DC29-D541-4B88-AEEC-44D387D9E3D5}" srcOrd="1" destOrd="0" presId="urn:microsoft.com/office/officeart/2008/layout/NameandTitleOrganizationalChart"/>
    <dgm:cxn modelId="{8B1A01B5-9565-4D12-8E64-2F476BEA0100}" type="presParOf" srcId="{D9139EAE-C7F2-4139-97E7-1C60C0176DC4}" destId="{6830264B-5FF4-4D32-85B3-D6C21D3FE288}" srcOrd="2" destOrd="0" presId="urn:microsoft.com/office/officeart/2008/layout/NameandTitleOrganizationalChart"/>
    <dgm:cxn modelId="{AEF07D4E-05D6-4BE0-8F28-151F6EA44FB5}" type="presParOf" srcId="{7474700A-9BFB-4FA9-8172-2411B8512382}" destId="{BE3AB2EE-BBD2-42AF-AB24-3E9DC3C1E6D2}" srcOrd="2" destOrd="0" presId="urn:microsoft.com/office/officeart/2008/layout/NameandTitleOrganizationalChart"/>
    <dgm:cxn modelId="{EBB03B01-6230-44C4-9F79-DB37C81A0C2D}" type="presParOf" srcId="{A31F2950-5A3C-4D27-9DA4-E2FD5A91CF78}" destId="{C5E75C7B-A5AE-476B-8CB8-8942BB4050DA}" srcOrd="2" destOrd="0" presId="urn:microsoft.com/office/officeart/2008/layout/NameandTitleOrganizationalChart"/>
    <dgm:cxn modelId="{3E1CAB23-6439-4292-9B10-687A9E87675F}" type="presParOf" srcId="{C5E75C7B-A5AE-476B-8CB8-8942BB4050DA}" destId="{821E1C1F-2A45-4012-959D-4109D64A5978}" srcOrd="0" destOrd="0" presId="urn:microsoft.com/office/officeart/2008/layout/NameandTitleOrganizationalChart"/>
    <dgm:cxn modelId="{192CAF76-456A-4FBB-98DD-84E7B2B59DC2}" type="presParOf" srcId="{C5E75C7B-A5AE-476B-8CB8-8942BB4050DA}" destId="{7B442492-1101-486D-8196-759778D8C6B1}" srcOrd="1" destOrd="0" presId="urn:microsoft.com/office/officeart/2008/layout/NameandTitleOrganizationalChart"/>
    <dgm:cxn modelId="{93753EA2-57FC-40CD-9109-D650820ED6FA}" type="presParOf" srcId="{7B442492-1101-486D-8196-759778D8C6B1}" destId="{7C41367B-7B51-4EBF-90EF-9C29D3EA9A87}" srcOrd="0" destOrd="0" presId="urn:microsoft.com/office/officeart/2008/layout/NameandTitleOrganizationalChart"/>
    <dgm:cxn modelId="{731FDAFD-CCBE-450C-8CFB-36831DD753F3}" type="presParOf" srcId="{7C41367B-7B51-4EBF-90EF-9C29D3EA9A87}" destId="{45FDE6ED-B03E-46F2-AD4F-89BDC4C3A94B}" srcOrd="0" destOrd="0" presId="urn:microsoft.com/office/officeart/2008/layout/NameandTitleOrganizationalChart"/>
    <dgm:cxn modelId="{12CCD5E5-1BFD-4825-A3F7-D18EAB2AE0E7}" type="presParOf" srcId="{7C41367B-7B51-4EBF-90EF-9C29D3EA9A87}" destId="{9ADFFDB9-F2C8-4A16-BF25-4F49A4831CAE}" srcOrd="1" destOrd="0" presId="urn:microsoft.com/office/officeart/2008/layout/NameandTitleOrganizationalChart"/>
    <dgm:cxn modelId="{1C32015A-A60F-4F2A-8C78-8FABF6A8B023}" type="presParOf" srcId="{7C41367B-7B51-4EBF-90EF-9C29D3EA9A87}" destId="{12C54A64-0C5C-4C69-AE28-332C538C0D94}" srcOrd="2" destOrd="0" presId="urn:microsoft.com/office/officeart/2008/layout/NameandTitleOrganizationalChart"/>
    <dgm:cxn modelId="{C7F454FF-BD13-456E-A0AD-FEBF68E5D27C}" type="presParOf" srcId="{7B442492-1101-486D-8196-759778D8C6B1}" destId="{5D6CA436-93C9-4D5B-9AFA-D905502666E0}" srcOrd="1" destOrd="0" presId="urn:microsoft.com/office/officeart/2008/layout/NameandTitleOrganizationalChart"/>
    <dgm:cxn modelId="{62D0E808-7E07-40F0-91E4-46C9B79728FE}" type="presParOf" srcId="{7B442492-1101-486D-8196-759778D8C6B1}" destId="{0382E1BA-A42A-40E7-A58D-989077EEBA11}" srcOrd="2" destOrd="0" presId="urn:microsoft.com/office/officeart/2008/layout/NameandTitleOrganizationalChart"/>
    <dgm:cxn modelId="{C541D316-671E-4303-9C18-E7F60D6BA0C8}" type="presParOf" srcId="{C5E75C7B-A5AE-476B-8CB8-8942BB4050DA}" destId="{6955142F-7F4E-4283-8344-528E08679EB9}" srcOrd="2" destOrd="0" presId="urn:microsoft.com/office/officeart/2008/layout/NameandTitleOrganizationalChart"/>
    <dgm:cxn modelId="{0D08CF2F-A384-4963-BC3B-1A6A3F21A1B0}" type="presParOf" srcId="{C5E75C7B-A5AE-476B-8CB8-8942BB4050DA}" destId="{ED8FDB38-8562-4A96-8C69-BD6439B85DDC}" srcOrd="3" destOrd="0" presId="urn:microsoft.com/office/officeart/2008/layout/NameandTitleOrganizationalChart"/>
    <dgm:cxn modelId="{277B7AF3-9CF5-4BE6-9E4A-41631466C5B4}" type="presParOf" srcId="{ED8FDB38-8562-4A96-8C69-BD6439B85DDC}" destId="{9F73237A-1462-4914-BB82-4BD33D7D86B9}" srcOrd="0" destOrd="0" presId="urn:microsoft.com/office/officeart/2008/layout/NameandTitleOrganizationalChart"/>
    <dgm:cxn modelId="{ADE94635-E43C-47CF-93E5-E4B8F0D09650}" type="presParOf" srcId="{9F73237A-1462-4914-BB82-4BD33D7D86B9}" destId="{B2C77A69-BD1E-4188-B09E-66203BCFE852}" srcOrd="0" destOrd="0" presId="urn:microsoft.com/office/officeart/2008/layout/NameandTitleOrganizationalChart"/>
    <dgm:cxn modelId="{77129B07-6DE4-4D2B-BAAD-4AB867E034B4}" type="presParOf" srcId="{9F73237A-1462-4914-BB82-4BD33D7D86B9}" destId="{DCB83738-4943-42DA-9F95-B71EF7FC211B}" srcOrd="1" destOrd="0" presId="urn:microsoft.com/office/officeart/2008/layout/NameandTitleOrganizationalChart"/>
    <dgm:cxn modelId="{1BB87737-7E7C-4A9A-9C99-A453C9D966B2}" type="presParOf" srcId="{9F73237A-1462-4914-BB82-4BD33D7D86B9}" destId="{B48F8E66-4EFF-4ACC-AB21-5B23E352AD72}" srcOrd="2" destOrd="0" presId="urn:microsoft.com/office/officeart/2008/layout/NameandTitleOrganizationalChart"/>
    <dgm:cxn modelId="{68E1A133-78FA-4FF3-BD0B-06529AF5F9D7}" type="presParOf" srcId="{ED8FDB38-8562-4A96-8C69-BD6439B85DDC}" destId="{13B6AB02-7A99-427B-A758-56A06F82401E}" srcOrd="1" destOrd="0" presId="urn:microsoft.com/office/officeart/2008/layout/NameandTitleOrganizationalChart"/>
    <dgm:cxn modelId="{66CB5E85-E27B-4DE5-8293-7757BCEBB538}" type="presParOf" srcId="{ED8FDB38-8562-4A96-8C69-BD6439B85DDC}" destId="{4409F079-C6BB-4461-A928-795FA2789284}" srcOrd="2" destOrd="0" presId="urn:microsoft.com/office/officeart/2008/layout/NameandTitleOrganizationalChart"/>
    <dgm:cxn modelId="{0D1AEFBC-5C0F-4F88-AC76-6577B34779CF}" type="presParOf" srcId="{C5E75C7B-A5AE-476B-8CB8-8942BB4050DA}" destId="{198E4D00-1812-4B74-98F6-0B0E44E881CD}" srcOrd="4" destOrd="0" presId="urn:microsoft.com/office/officeart/2008/layout/NameandTitleOrganizationalChart"/>
    <dgm:cxn modelId="{826DB084-342D-4A65-9792-38B42EA290B4}" type="presParOf" srcId="{C5E75C7B-A5AE-476B-8CB8-8942BB4050DA}" destId="{6F389109-5A70-4467-A619-BF5C06DD8B23}" srcOrd="5" destOrd="0" presId="urn:microsoft.com/office/officeart/2008/layout/NameandTitleOrganizationalChart"/>
    <dgm:cxn modelId="{AD58D492-59C8-4227-8502-8EA3E171A052}" type="presParOf" srcId="{6F389109-5A70-4467-A619-BF5C06DD8B23}" destId="{11623418-4586-43ED-999B-2E50C297A749}" srcOrd="0" destOrd="0" presId="urn:microsoft.com/office/officeart/2008/layout/NameandTitleOrganizationalChart"/>
    <dgm:cxn modelId="{3E8DB530-46D7-4833-A7CE-333CD96656C5}" type="presParOf" srcId="{11623418-4586-43ED-999B-2E50C297A749}" destId="{C2A25893-B0B7-4B89-96A2-43369F64F243}" srcOrd="0" destOrd="0" presId="urn:microsoft.com/office/officeart/2008/layout/NameandTitleOrganizationalChart"/>
    <dgm:cxn modelId="{E4F23824-BD3B-4DE2-9A83-E589B308DA66}" type="presParOf" srcId="{11623418-4586-43ED-999B-2E50C297A749}" destId="{26F86B9E-15F6-4318-8024-F02C1A6CB8C0}" srcOrd="1" destOrd="0" presId="urn:microsoft.com/office/officeart/2008/layout/NameandTitleOrganizationalChart"/>
    <dgm:cxn modelId="{B51BDF8F-7B4C-4C08-AFEC-52BE0FF07752}" type="presParOf" srcId="{11623418-4586-43ED-999B-2E50C297A749}" destId="{7E526891-7EDE-4AD0-A10C-78449E9C8E6B}" srcOrd="2" destOrd="0" presId="urn:microsoft.com/office/officeart/2008/layout/NameandTitleOrganizationalChart"/>
    <dgm:cxn modelId="{854601ED-5BA2-4BFE-874F-A1430EFA22D2}" type="presParOf" srcId="{6F389109-5A70-4467-A619-BF5C06DD8B23}" destId="{7D815FC8-FD50-4F2F-86C5-3D904B0CC3EA}" srcOrd="1" destOrd="0" presId="urn:microsoft.com/office/officeart/2008/layout/NameandTitleOrganizationalChart"/>
    <dgm:cxn modelId="{27523CCD-1337-4B57-9312-F73B4CCCA8BC}" type="presParOf" srcId="{6F389109-5A70-4467-A619-BF5C06DD8B23}" destId="{33D00B59-9A50-46FB-BE23-8D8EF0CE3B84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7FB6538-DBA1-46DD-8A79-E7ED48DEE8E4}" type="doc">
      <dgm:prSet loTypeId="urn:microsoft.com/office/officeart/2008/layout/VerticalCurvedList" loCatId="list" qsTypeId="urn:microsoft.com/office/officeart/2005/8/quickstyle/3d3" qsCatId="3D" csTypeId="urn:microsoft.com/office/officeart/2005/8/colors/colorful1#1" csCatId="colorful" phldr="1"/>
      <dgm:spPr/>
      <dgm:t>
        <a:bodyPr/>
        <a:lstStyle/>
        <a:p>
          <a:endParaRPr lang="en-SG"/>
        </a:p>
      </dgm:t>
    </dgm:pt>
    <dgm:pt modelId="{356BADAE-71F5-429D-9E71-D7BCD2798760}">
      <dgm:prSet phldrT="[Text]"/>
      <dgm:spPr>
        <a:xfrm>
          <a:off x="641196" y="275260"/>
          <a:ext cx="6369234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Introduction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520B9485-E84F-4927-ACEB-E15602884A61}" type="parTrans" cxnId="{99AEDB80-6ED3-436D-8C64-9637AE59A17F}">
      <dgm:prSet/>
      <dgm:spPr/>
      <dgm:t>
        <a:bodyPr/>
        <a:lstStyle/>
        <a:p>
          <a:endParaRPr lang="en-SG"/>
        </a:p>
      </dgm:t>
    </dgm:pt>
    <dgm:pt modelId="{52FD0F21-3724-43A0-8B5E-6852FB0D059A}" type="sibTrans" cxnId="{99AEDB80-6ED3-436D-8C64-9637AE59A17F}">
      <dgm:prSet/>
      <dgm:spPr>
        <a:xfrm>
          <a:off x="-5662316" y="-783865"/>
          <a:ext cx="7184343" cy="6093694"/>
        </a:xfr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gm:spPr>
      <dgm:t>
        <a:bodyPr/>
        <a:lstStyle/>
        <a:p>
          <a:endParaRPr lang="en-SG" dirty="0"/>
        </a:p>
      </dgm:t>
    </dgm:pt>
    <dgm:pt modelId="{1D92B34E-F6EA-4C5E-8ACA-7FA51DB1597A}">
      <dgm:prSet phldrT="[Text]"/>
      <dgm:spPr>
        <a:xfrm>
          <a:off x="756263" y="952986"/>
          <a:ext cx="6267853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SG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BBDB8A99-F4FF-4938-9BD4-B02B721A64BF}" type="parTrans" cxnId="{C3A6D027-037E-4E9C-82F0-9414335D4306}">
      <dgm:prSet/>
      <dgm:spPr/>
      <dgm:t>
        <a:bodyPr/>
        <a:lstStyle/>
        <a:p>
          <a:endParaRPr lang="en-SG"/>
        </a:p>
      </dgm:t>
    </dgm:pt>
    <dgm:pt modelId="{FFAB30D9-AB74-49C2-B6C7-48EB63FE9002}" type="sibTrans" cxnId="{C3A6D027-037E-4E9C-82F0-9414335D4306}">
      <dgm:prSet/>
      <dgm:spPr/>
      <dgm:t>
        <a:bodyPr/>
        <a:lstStyle/>
        <a:p>
          <a:endParaRPr lang="en-SG"/>
        </a:p>
      </dgm:t>
    </dgm:pt>
    <dgm:pt modelId="{A57A23F3-5064-4581-B7C3-9100A5344C33}">
      <dgm:prSet phldrT="[Text]"/>
      <dgm:spPr>
        <a:xfrm>
          <a:off x="935492" y="1667636"/>
          <a:ext cx="6088625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Solution Review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7BE3DE13-FC4C-49AE-8600-457FC42128D9}" type="parTrans" cxnId="{D7C720F2-C7CE-4B4B-9F27-8DD6838398A8}">
      <dgm:prSet/>
      <dgm:spPr/>
      <dgm:t>
        <a:bodyPr/>
        <a:lstStyle/>
        <a:p>
          <a:endParaRPr lang="en-SG"/>
        </a:p>
      </dgm:t>
    </dgm:pt>
    <dgm:pt modelId="{D18DC013-E58D-42C4-A39D-B4595195EC78}" type="sibTrans" cxnId="{D7C720F2-C7CE-4B4B-9F27-8DD6838398A8}">
      <dgm:prSet/>
      <dgm:spPr/>
      <dgm:t>
        <a:bodyPr/>
        <a:lstStyle/>
        <a:p>
          <a:endParaRPr lang="en-SG"/>
        </a:p>
      </dgm:t>
    </dgm:pt>
    <dgm:pt modelId="{DCA256DB-1B46-4A0B-9EA2-F1ED22EC2C5C}">
      <dgm:prSet phldrT="[Text]"/>
      <dgm:spPr>
        <a:xfrm>
          <a:off x="935492" y="2381833"/>
          <a:ext cx="6088625" cy="476493"/>
        </a:xfr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Project Governance</a:t>
          </a:r>
          <a:endParaRPr lang="en-SG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gm:t>
    </dgm:pt>
    <dgm:pt modelId="{79C21227-30D8-4ACB-8662-6E403F052234}" type="parTrans" cxnId="{EE81D955-3C04-4A28-8416-6427C44546FC}">
      <dgm:prSet/>
      <dgm:spPr/>
      <dgm:t>
        <a:bodyPr/>
        <a:lstStyle/>
        <a:p>
          <a:endParaRPr lang="en-SG"/>
        </a:p>
      </dgm:t>
    </dgm:pt>
    <dgm:pt modelId="{F619734E-7625-4320-BF1D-80952ED71545}" type="sibTrans" cxnId="{EE81D955-3C04-4A28-8416-6427C44546FC}">
      <dgm:prSet/>
      <dgm:spPr/>
      <dgm:t>
        <a:bodyPr/>
        <a:lstStyle/>
        <a:p>
          <a:endParaRPr lang="en-SG"/>
        </a:p>
      </dgm:t>
    </dgm:pt>
    <dgm:pt modelId="{56B8FC9C-52DF-444B-8FB3-0DCA95C6AE47}">
      <dgm:prSet phldrT="[Text]"/>
      <dgm:spPr>
        <a:xfrm>
          <a:off x="756263" y="3096482"/>
          <a:ext cx="6267853" cy="476493"/>
        </a:xfrm>
        <a:solidFill>
          <a:srgbClr val="F79646"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US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D4BA7826-84A5-4CBF-8C42-CCFC693CE46F}" type="parTrans" cxnId="{ECEC6310-3326-4AD6-8BFA-59D618AD80FA}">
      <dgm:prSet/>
      <dgm:spPr/>
      <dgm:t>
        <a:bodyPr/>
        <a:lstStyle/>
        <a:p>
          <a:endParaRPr lang="en-US"/>
        </a:p>
      </dgm:t>
    </dgm:pt>
    <dgm:pt modelId="{DF48CE1A-3879-437D-945C-706CC1B94873}" type="sibTrans" cxnId="{ECEC6310-3326-4AD6-8BFA-59D618AD80FA}">
      <dgm:prSet/>
      <dgm:spPr/>
      <dgm:t>
        <a:bodyPr/>
        <a:lstStyle/>
        <a:p>
          <a:endParaRPr lang="en-US"/>
        </a:p>
      </dgm:t>
    </dgm:pt>
    <dgm:pt modelId="{A1195B61-F0F1-4D79-9AA3-4911A2E57CB3}" type="pres">
      <dgm:prSet presAssocID="{27FB6538-DBA1-46DD-8A79-E7ED48DEE8E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SG"/>
        </a:p>
      </dgm:t>
    </dgm:pt>
    <dgm:pt modelId="{7A7EB14D-C022-4BC5-B085-DFA634827121}" type="pres">
      <dgm:prSet presAssocID="{27FB6538-DBA1-46DD-8A79-E7ED48DEE8E4}" presName="Name1" presStyleCnt="0"/>
      <dgm:spPr/>
      <dgm:t>
        <a:bodyPr/>
        <a:lstStyle/>
        <a:p>
          <a:endParaRPr lang="en-SG"/>
        </a:p>
      </dgm:t>
    </dgm:pt>
    <dgm:pt modelId="{D8D8AD71-720B-44C1-B592-DD20D038FDF3}" type="pres">
      <dgm:prSet presAssocID="{27FB6538-DBA1-46DD-8A79-E7ED48DEE8E4}" presName="cycle" presStyleCnt="0"/>
      <dgm:spPr/>
      <dgm:t>
        <a:bodyPr/>
        <a:lstStyle/>
        <a:p>
          <a:endParaRPr lang="en-SG"/>
        </a:p>
      </dgm:t>
    </dgm:pt>
    <dgm:pt modelId="{3B02D644-EC0F-480F-9AF1-21FE9167FBF2}" type="pres">
      <dgm:prSet presAssocID="{27FB6538-DBA1-46DD-8A79-E7ED48DEE8E4}" presName="srcNode" presStyleLbl="node1" presStyleIdx="0" presStyleCnt="5"/>
      <dgm:spPr/>
      <dgm:t>
        <a:bodyPr/>
        <a:lstStyle/>
        <a:p>
          <a:endParaRPr lang="en-SG"/>
        </a:p>
      </dgm:t>
    </dgm:pt>
    <dgm:pt modelId="{F016D042-368B-49DE-8DB8-109A44D85FB8}" type="pres">
      <dgm:prSet presAssocID="{27FB6538-DBA1-46DD-8A79-E7ED48DEE8E4}" presName="conn" presStyleLbl="parChTrans1D2" presStyleIdx="0" presStyleCnt="1" custScaleX="117898"/>
      <dgm:spPr>
        <a:prstGeom prst="blockArc">
          <a:avLst>
            <a:gd name="adj1" fmla="val 18900000"/>
            <a:gd name="adj2" fmla="val 2700000"/>
            <a:gd name="adj3" fmla="val 354"/>
          </a:avLst>
        </a:prstGeom>
      </dgm:spPr>
      <dgm:t>
        <a:bodyPr/>
        <a:lstStyle/>
        <a:p>
          <a:endParaRPr lang="en-SG"/>
        </a:p>
      </dgm:t>
    </dgm:pt>
    <dgm:pt modelId="{A0636074-7534-4615-9524-F72C45A96894}" type="pres">
      <dgm:prSet presAssocID="{27FB6538-DBA1-46DD-8A79-E7ED48DEE8E4}" presName="extraNode" presStyleLbl="node1" presStyleIdx="0" presStyleCnt="5"/>
      <dgm:spPr/>
      <dgm:t>
        <a:bodyPr/>
        <a:lstStyle/>
        <a:p>
          <a:endParaRPr lang="en-SG"/>
        </a:p>
      </dgm:t>
    </dgm:pt>
    <dgm:pt modelId="{F5E095A5-5378-4BA6-B8FC-2C26CF0A0243}" type="pres">
      <dgm:prSet presAssocID="{27FB6538-DBA1-46DD-8A79-E7ED48DEE8E4}" presName="dstNode" presStyleLbl="node1" presStyleIdx="0" presStyleCnt="5"/>
      <dgm:spPr/>
      <dgm:t>
        <a:bodyPr/>
        <a:lstStyle/>
        <a:p>
          <a:endParaRPr lang="en-SG"/>
        </a:p>
      </dgm:t>
    </dgm:pt>
    <dgm:pt modelId="{761BFDF3-A7D6-4BFA-BB7C-3C6A6CF8D0C4}" type="pres">
      <dgm:prSet presAssocID="{356BADAE-71F5-429D-9E71-D7BCD2798760}" presName="text_1" presStyleLbl="node1" presStyleIdx="0" presStyleCnt="5" custScaleX="95637" custLinFactNeighborX="1976" custLinFactNeighborY="7749">
        <dgm:presLayoutVars>
          <dgm:bulletEnabled val="1"/>
        </dgm:presLayoutVars>
      </dgm:prSet>
      <dgm:spPr>
        <a:xfrm>
          <a:off x="364315" y="238337"/>
          <a:ext cx="6659801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0E497E6-A631-480C-A976-5D4906582440}" type="pres">
      <dgm:prSet presAssocID="{356BADAE-71F5-429D-9E71-D7BCD2798760}" presName="accent_1" presStyleCnt="0"/>
      <dgm:spPr/>
      <dgm:t>
        <a:bodyPr/>
        <a:lstStyle/>
        <a:p>
          <a:endParaRPr lang="en-SG"/>
        </a:p>
      </dgm:t>
    </dgm:pt>
    <dgm:pt modelId="{111D6A6A-75A1-4CC2-BC05-305810A6C53A}" type="pres">
      <dgm:prSet presAssocID="{356BADAE-71F5-429D-9E71-D7BCD2798760}" presName="accentRepeatNode" presStyleLbl="solidFgAcc1" presStyleIdx="0" presStyleCnt="5"/>
      <dgm:spPr>
        <a:xfrm>
          <a:off x="66507" y="17877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7D0B2677-CD80-4B31-BD56-8DAF5D8B611A}" type="pres">
      <dgm:prSet presAssocID="{1D92B34E-F6EA-4C5E-8ACA-7FA51DB1597A}" presName="text_2" presStyleLbl="node1" presStyleIdx="1" presStyleCnt="5">
        <dgm:presLayoutVars>
          <dgm:bulletEnabled val="1"/>
        </dgm:presLayoutVars>
      </dgm:prSet>
      <dgm:spPr>
        <a:xfrm>
          <a:off x="756263" y="952986"/>
          <a:ext cx="6267853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DCA91C44-A94E-448C-9F8E-BE448D99799E}" type="pres">
      <dgm:prSet presAssocID="{1D92B34E-F6EA-4C5E-8ACA-7FA51DB1597A}" presName="accent_2" presStyleCnt="0"/>
      <dgm:spPr/>
      <dgm:t>
        <a:bodyPr/>
        <a:lstStyle/>
        <a:p>
          <a:endParaRPr lang="en-SG"/>
        </a:p>
      </dgm:t>
    </dgm:pt>
    <dgm:pt modelId="{E963B212-DC64-41B5-9D12-964D9682514A}" type="pres">
      <dgm:prSet presAssocID="{1D92B34E-F6EA-4C5E-8ACA-7FA51DB1597A}" presName="accentRepeatNode" presStyleLbl="solidFgAcc1" presStyleIdx="1" presStyleCnt="5"/>
      <dgm:spPr>
        <a:xfrm>
          <a:off x="458455" y="893425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56E52F00-BBFE-4A45-AAFE-BE259353943C}" type="pres">
      <dgm:prSet presAssocID="{A57A23F3-5064-4581-B7C3-9100A5344C33}" presName="text_3" presStyleLbl="node1" presStyleIdx="2" presStyleCnt="5">
        <dgm:presLayoutVars>
          <dgm:bulletEnabled val="1"/>
        </dgm:presLayoutVars>
      </dgm:prSet>
      <dgm:spPr>
        <a:xfrm>
          <a:off x="935492" y="1667636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4B9798B5-6BB1-4FEC-82F3-13DC6F1A928A}" type="pres">
      <dgm:prSet presAssocID="{A57A23F3-5064-4581-B7C3-9100A5344C33}" presName="accent_3" presStyleCnt="0"/>
      <dgm:spPr/>
      <dgm:t>
        <a:bodyPr/>
        <a:lstStyle/>
        <a:p>
          <a:endParaRPr lang="en-SG"/>
        </a:p>
      </dgm:t>
    </dgm:pt>
    <dgm:pt modelId="{7C738C1C-C737-407C-BD98-4A2A76335A10}" type="pres">
      <dgm:prSet presAssocID="{A57A23F3-5064-4581-B7C3-9100A5344C33}" presName="accentRepeatNode" presStyleLbl="solidFgAcc1" presStyleIdx="2" presStyleCnt="5"/>
      <dgm:spPr>
        <a:xfrm>
          <a:off x="637683" y="1608074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C3703577-6949-4DEA-86D2-7C1A5634D688}" type="pres">
      <dgm:prSet presAssocID="{DCA256DB-1B46-4A0B-9EA2-F1ED22EC2C5C}" presName="text_4" presStyleLbl="node1" presStyleIdx="3" presStyleCnt="5">
        <dgm:presLayoutVars>
          <dgm:bulletEnabled val="1"/>
        </dgm:presLayoutVars>
      </dgm:prSet>
      <dgm:spPr>
        <a:xfrm>
          <a:off x="935492" y="2381833"/>
          <a:ext cx="6088625" cy="476493"/>
        </a:xfrm>
        <a:prstGeom prst="rect">
          <a:avLst/>
        </a:prstGeom>
      </dgm:spPr>
      <dgm:t>
        <a:bodyPr/>
        <a:lstStyle/>
        <a:p>
          <a:endParaRPr lang="en-SG"/>
        </a:p>
      </dgm:t>
    </dgm:pt>
    <dgm:pt modelId="{3004AD7A-ABCF-4D02-A175-AFE4255974D2}" type="pres">
      <dgm:prSet presAssocID="{DCA256DB-1B46-4A0B-9EA2-F1ED22EC2C5C}" presName="accent_4" presStyleCnt="0"/>
      <dgm:spPr/>
      <dgm:t>
        <a:bodyPr/>
        <a:lstStyle/>
        <a:p>
          <a:endParaRPr lang="en-SG"/>
        </a:p>
      </dgm:t>
    </dgm:pt>
    <dgm:pt modelId="{CD070EC4-0545-48CF-9D05-A2D5EB82A552}" type="pres">
      <dgm:prSet presAssocID="{DCA256DB-1B46-4A0B-9EA2-F1ED22EC2C5C}" presName="accentRepeatNode" presStyleLbl="solidFgAcc1" presStyleIdx="3" presStyleCnt="5"/>
      <dgm:spPr>
        <a:xfrm>
          <a:off x="637683" y="232227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US"/>
        </a:p>
      </dgm:t>
    </dgm:pt>
    <dgm:pt modelId="{3A29B301-0016-43D6-B2B9-9516B1112A98}" type="pres">
      <dgm:prSet presAssocID="{56B8FC9C-52DF-444B-8FB3-0DCA95C6AE47}" presName="text_5" presStyleLbl="node1" presStyleIdx="4" presStyleCnt="5">
        <dgm:presLayoutVars>
          <dgm:bulletEnabled val="1"/>
        </dgm:presLayoutVars>
      </dgm:prSet>
      <dgm:spPr>
        <a:xfrm>
          <a:off x="935492" y="2381833"/>
          <a:ext cx="6088625" cy="476493"/>
        </a:xfrm>
      </dgm:spPr>
      <dgm:t>
        <a:bodyPr/>
        <a:lstStyle/>
        <a:p>
          <a:endParaRPr lang="en-US"/>
        </a:p>
      </dgm:t>
    </dgm:pt>
    <dgm:pt modelId="{DCCCB0F8-C0C5-4005-A9CC-5E93D189A98D}" type="pres">
      <dgm:prSet presAssocID="{56B8FC9C-52DF-444B-8FB3-0DCA95C6AE47}" presName="accent_5" presStyleCnt="0"/>
      <dgm:spPr/>
      <dgm:t>
        <a:bodyPr/>
        <a:lstStyle/>
        <a:p>
          <a:endParaRPr lang="en-SG"/>
        </a:p>
      </dgm:t>
    </dgm:pt>
    <dgm:pt modelId="{41A4B0ED-9887-44C5-8498-9E2FDDC9AA75}" type="pres">
      <dgm:prSet presAssocID="{56B8FC9C-52DF-444B-8FB3-0DCA95C6AE47}" presName="accentRepeatNode" presStyleLbl="solidFgAcc1" presStyleIdx="4" presStyleCnt="5"/>
      <dgm:spPr>
        <a:xfrm>
          <a:off x="458455" y="3036921"/>
          <a:ext cx="595616" cy="5956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gm:spPr>
      <dgm:t>
        <a:bodyPr/>
        <a:lstStyle/>
        <a:p>
          <a:endParaRPr lang="en-SG"/>
        </a:p>
      </dgm:t>
    </dgm:pt>
  </dgm:ptLst>
  <dgm:cxnLst>
    <dgm:cxn modelId="{D7C720F2-C7CE-4B4B-9F27-8DD6838398A8}" srcId="{27FB6538-DBA1-46DD-8A79-E7ED48DEE8E4}" destId="{A57A23F3-5064-4581-B7C3-9100A5344C33}" srcOrd="2" destOrd="0" parTransId="{7BE3DE13-FC4C-49AE-8600-457FC42128D9}" sibTransId="{D18DC013-E58D-42C4-A39D-B4595195EC78}"/>
    <dgm:cxn modelId="{6E6B4A6F-506C-4035-901C-2C34FCAB40C3}" type="presOf" srcId="{56B8FC9C-52DF-444B-8FB3-0DCA95C6AE47}" destId="{3A29B301-0016-43D6-B2B9-9516B1112A98}" srcOrd="0" destOrd="0" presId="urn:microsoft.com/office/officeart/2008/layout/VerticalCurvedList"/>
    <dgm:cxn modelId="{ECEC6310-3326-4AD6-8BFA-59D618AD80FA}" srcId="{27FB6538-DBA1-46DD-8A79-E7ED48DEE8E4}" destId="{56B8FC9C-52DF-444B-8FB3-0DCA95C6AE47}" srcOrd="4" destOrd="0" parTransId="{D4BA7826-84A5-4CBF-8C42-CCFC693CE46F}" sibTransId="{DF48CE1A-3879-437D-945C-706CC1B94873}"/>
    <dgm:cxn modelId="{67062393-4603-40CB-951C-4132006CAF07}" type="presOf" srcId="{DCA256DB-1B46-4A0B-9EA2-F1ED22EC2C5C}" destId="{C3703577-6949-4DEA-86D2-7C1A5634D688}" srcOrd="0" destOrd="0" presId="urn:microsoft.com/office/officeart/2008/layout/VerticalCurvedList"/>
    <dgm:cxn modelId="{EE81D955-3C04-4A28-8416-6427C44546FC}" srcId="{27FB6538-DBA1-46DD-8A79-E7ED48DEE8E4}" destId="{DCA256DB-1B46-4A0B-9EA2-F1ED22EC2C5C}" srcOrd="3" destOrd="0" parTransId="{79C21227-30D8-4ACB-8662-6E403F052234}" sibTransId="{F619734E-7625-4320-BF1D-80952ED71545}"/>
    <dgm:cxn modelId="{DB1D2A52-B74F-4D01-90D0-6C6A7B2ECF69}" type="presOf" srcId="{27FB6538-DBA1-46DD-8A79-E7ED48DEE8E4}" destId="{A1195B61-F0F1-4D79-9AA3-4911A2E57CB3}" srcOrd="0" destOrd="0" presId="urn:microsoft.com/office/officeart/2008/layout/VerticalCurvedList"/>
    <dgm:cxn modelId="{7BED0C08-D7EC-4AFD-9AAB-99D74E5A04F9}" type="presOf" srcId="{A57A23F3-5064-4581-B7C3-9100A5344C33}" destId="{56E52F00-BBFE-4A45-AAFE-BE259353943C}" srcOrd="0" destOrd="0" presId="urn:microsoft.com/office/officeart/2008/layout/VerticalCurvedList"/>
    <dgm:cxn modelId="{AD60D3AE-8F26-49FF-B135-4878CF8ED3F7}" type="presOf" srcId="{1D92B34E-F6EA-4C5E-8ACA-7FA51DB1597A}" destId="{7D0B2677-CD80-4B31-BD56-8DAF5D8B611A}" srcOrd="0" destOrd="0" presId="urn:microsoft.com/office/officeart/2008/layout/VerticalCurvedList"/>
    <dgm:cxn modelId="{D4B82C63-D600-485D-9D68-2F860E6A2A85}" type="presOf" srcId="{356BADAE-71F5-429D-9E71-D7BCD2798760}" destId="{761BFDF3-A7D6-4BFA-BB7C-3C6A6CF8D0C4}" srcOrd="0" destOrd="0" presId="urn:microsoft.com/office/officeart/2008/layout/VerticalCurvedList"/>
    <dgm:cxn modelId="{99AEDB80-6ED3-436D-8C64-9637AE59A17F}" srcId="{27FB6538-DBA1-46DD-8A79-E7ED48DEE8E4}" destId="{356BADAE-71F5-429D-9E71-D7BCD2798760}" srcOrd="0" destOrd="0" parTransId="{520B9485-E84F-4927-ACEB-E15602884A61}" sibTransId="{52FD0F21-3724-43A0-8B5E-6852FB0D059A}"/>
    <dgm:cxn modelId="{B667AA25-81B5-416C-BD9F-5E85D8AE027D}" type="presOf" srcId="{52FD0F21-3724-43A0-8B5E-6852FB0D059A}" destId="{F016D042-368B-49DE-8DB8-109A44D85FB8}" srcOrd="0" destOrd="0" presId="urn:microsoft.com/office/officeart/2008/layout/VerticalCurvedList"/>
    <dgm:cxn modelId="{C3A6D027-037E-4E9C-82F0-9414335D4306}" srcId="{27FB6538-DBA1-46DD-8A79-E7ED48DEE8E4}" destId="{1D92B34E-F6EA-4C5E-8ACA-7FA51DB1597A}" srcOrd="1" destOrd="0" parTransId="{BBDB8A99-F4FF-4938-9BD4-B02B721A64BF}" sibTransId="{FFAB30D9-AB74-49C2-B6C7-48EB63FE9002}"/>
    <dgm:cxn modelId="{7B397FCE-35F6-4298-B89D-83251DFA6F9C}" type="presParOf" srcId="{A1195B61-F0F1-4D79-9AA3-4911A2E57CB3}" destId="{7A7EB14D-C022-4BC5-B085-DFA634827121}" srcOrd="0" destOrd="0" presId="urn:microsoft.com/office/officeart/2008/layout/VerticalCurvedList"/>
    <dgm:cxn modelId="{D4229E53-4AB7-406D-80EE-038E68CB223F}" type="presParOf" srcId="{7A7EB14D-C022-4BC5-B085-DFA634827121}" destId="{D8D8AD71-720B-44C1-B592-DD20D038FDF3}" srcOrd="0" destOrd="0" presId="urn:microsoft.com/office/officeart/2008/layout/VerticalCurvedList"/>
    <dgm:cxn modelId="{CD8AB852-1FE3-4FF6-9EE5-73985A5519B4}" type="presParOf" srcId="{D8D8AD71-720B-44C1-B592-DD20D038FDF3}" destId="{3B02D644-EC0F-480F-9AF1-21FE9167FBF2}" srcOrd="0" destOrd="0" presId="urn:microsoft.com/office/officeart/2008/layout/VerticalCurvedList"/>
    <dgm:cxn modelId="{EB059B6F-F5C0-492C-ADF3-6E897D6D41C9}" type="presParOf" srcId="{D8D8AD71-720B-44C1-B592-DD20D038FDF3}" destId="{F016D042-368B-49DE-8DB8-109A44D85FB8}" srcOrd="1" destOrd="0" presId="urn:microsoft.com/office/officeart/2008/layout/VerticalCurvedList"/>
    <dgm:cxn modelId="{3D1EE66F-CE00-4C79-BEF0-C25D232CB642}" type="presParOf" srcId="{D8D8AD71-720B-44C1-B592-DD20D038FDF3}" destId="{A0636074-7534-4615-9524-F72C45A96894}" srcOrd="2" destOrd="0" presId="urn:microsoft.com/office/officeart/2008/layout/VerticalCurvedList"/>
    <dgm:cxn modelId="{E828C74A-EF45-4DFF-A015-7F39FEBB2177}" type="presParOf" srcId="{D8D8AD71-720B-44C1-B592-DD20D038FDF3}" destId="{F5E095A5-5378-4BA6-B8FC-2C26CF0A0243}" srcOrd="3" destOrd="0" presId="urn:microsoft.com/office/officeart/2008/layout/VerticalCurvedList"/>
    <dgm:cxn modelId="{56DF9175-394B-4DAC-8DE7-CD5E1377215D}" type="presParOf" srcId="{7A7EB14D-C022-4BC5-B085-DFA634827121}" destId="{761BFDF3-A7D6-4BFA-BB7C-3C6A6CF8D0C4}" srcOrd="1" destOrd="0" presId="urn:microsoft.com/office/officeart/2008/layout/VerticalCurvedList"/>
    <dgm:cxn modelId="{A5DE9E2A-7EA4-4471-8AA4-FFCDF370DFBC}" type="presParOf" srcId="{7A7EB14D-C022-4BC5-B085-DFA634827121}" destId="{D0E497E6-A631-480C-A976-5D4906582440}" srcOrd="2" destOrd="0" presId="urn:microsoft.com/office/officeart/2008/layout/VerticalCurvedList"/>
    <dgm:cxn modelId="{4F625C20-8B94-4E03-944C-AF3BDA231707}" type="presParOf" srcId="{D0E497E6-A631-480C-A976-5D4906582440}" destId="{111D6A6A-75A1-4CC2-BC05-305810A6C53A}" srcOrd="0" destOrd="0" presId="urn:microsoft.com/office/officeart/2008/layout/VerticalCurvedList"/>
    <dgm:cxn modelId="{29C75532-937D-4637-977F-E3D36423D2CC}" type="presParOf" srcId="{7A7EB14D-C022-4BC5-B085-DFA634827121}" destId="{7D0B2677-CD80-4B31-BD56-8DAF5D8B611A}" srcOrd="3" destOrd="0" presId="urn:microsoft.com/office/officeart/2008/layout/VerticalCurvedList"/>
    <dgm:cxn modelId="{2B1F543D-DB03-40E4-A05F-C4CACC36B6E3}" type="presParOf" srcId="{7A7EB14D-C022-4BC5-B085-DFA634827121}" destId="{DCA91C44-A94E-448C-9F8E-BE448D99799E}" srcOrd="4" destOrd="0" presId="urn:microsoft.com/office/officeart/2008/layout/VerticalCurvedList"/>
    <dgm:cxn modelId="{B91EA24F-742A-4031-92C6-60653F3AB311}" type="presParOf" srcId="{DCA91C44-A94E-448C-9F8E-BE448D99799E}" destId="{E963B212-DC64-41B5-9D12-964D9682514A}" srcOrd="0" destOrd="0" presId="urn:microsoft.com/office/officeart/2008/layout/VerticalCurvedList"/>
    <dgm:cxn modelId="{E30014A3-C162-4806-AAC4-81ACD634D899}" type="presParOf" srcId="{7A7EB14D-C022-4BC5-B085-DFA634827121}" destId="{56E52F00-BBFE-4A45-AAFE-BE259353943C}" srcOrd="5" destOrd="0" presId="urn:microsoft.com/office/officeart/2008/layout/VerticalCurvedList"/>
    <dgm:cxn modelId="{6D4AC208-6A83-4FA3-929B-9E06E4879A63}" type="presParOf" srcId="{7A7EB14D-C022-4BC5-B085-DFA634827121}" destId="{4B9798B5-6BB1-4FEC-82F3-13DC6F1A928A}" srcOrd="6" destOrd="0" presId="urn:microsoft.com/office/officeart/2008/layout/VerticalCurvedList"/>
    <dgm:cxn modelId="{DF98BD26-9BDB-4E9A-A710-A0FDF265A73A}" type="presParOf" srcId="{4B9798B5-6BB1-4FEC-82F3-13DC6F1A928A}" destId="{7C738C1C-C737-407C-BD98-4A2A76335A10}" srcOrd="0" destOrd="0" presId="urn:microsoft.com/office/officeart/2008/layout/VerticalCurvedList"/>
    <dgm:cxn modelId="{68F53FF4-DD83-4E95-A3DF-E4FC71BFC44D}" type="presParOf" srcId="{7A7EB14D-C022-4BC5-B085-DFA634827121}" destId="{C3703577-6949-4DEA-86D2-7C1A5634D688}" srcOrd="7" destOrd="0" presId="urn:microsoft.com/office/officeart/2008/layout/VerticalCurvedList"/>
    <dgm:cxn modelId="{8ED58687-9E8B-42B7-9B22-64826C13EA47}" type="presParOf" srcId="{7A7EB14D-C022-4BC5-B085-DFA634827121}" destId="{3004AD7A-ABCF-4D02-A175-AFE4255974D2}" srcOrd="8" destOrd="0" presId="urn:microsoft.com/office/officeart/2008/layout/VerticalCurvedList"/>
    <dgm:cxn modelId="{B910443E-A2AA-4ECF-934F-18AB71225F14}" type="presParOf" srcId="{3004AD7A-ABCF-4D02-A175-AFE4255974D2}" destId="{CD070EC4-0545-48CF-9D05-A2D5EB82A552}" srcOrd="0" destOrd="0" presId="urn:microsoft.com/office/officeart/2008/layout/VerticalCurvedList"/>
    <dgm:cxn modelId="{AAFA0877-525B-4588-93A0-551AB3E3E27F}" type="presParOf" srcId="{7A7EB14D-C022-4BC5-B085-DFA634827121}" destId="{3A29B301-0016-43D6-B2B9-9516B1112A98}" srcOrd="9" destOrd="0" presId="urn:microsoft.com/office/officeart/2008/layout/VerticalCurvedList"/>
    <dgm:cxn modelId="{10DA3A8E-D5DC-4817-9DD9-B50F1509D59D}" type="presParOf" srcId="{7A7EB14D-C022-4BC5-B085-DFA634827121}" destId="{DCCCB0F8-C0C5-4005-A9CC-5E93D189A98D}" srcOrd="10" destOrd="0" presId="urn:microsoft.com/office/officeart/2008/layout/VerticalCurvedList"/>
    <dgm:cxn modelId="{E8681799-1C58-4FF9-8380-3879C86C8F2F}" type="presParOf" srcId="{DCCCB0F8-C0C5-4005-A9CC-5E93D189A98D}" destId="{41A4B0ED-9887-44C5-8498-9E2FDDC9AA75}" srcOrd="0" destOrd="0" presId="urn:microsoft.com/office/officeart/2008/layout/VerticalCurvedList"/>
  </dgm:cxnLst>
  <dgm:bg/>
  <dgm:whole>
    <a:ln>
      <a:noFill/>
      <a:prstDash val="dashDot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16D042-368B-49DE-8DB8-109A44D85FB8}">
      <dsp:nvSpPr>
        <dsp:cNvPr id="0" name=""/>
        <dsp:cNvSpPr/>
      </dsp:nvSpPr>
      <dsp:spPr>
        <a:xfrm>
          <a:off x="-5662316" y="-783865"/>
          <a:ext cx="7184343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1BFDF3-A7D6-4BFA-BB7C-3C6A6CF8D0C4}">
      <dsp:nvSpPr>
        <dsp:cNvPr id="0" name=""/>
        <dsp:cNvSpPr/>
      </dsp:nvSpPr>
      <dsp:spPr>
        <a:xfrm>
          <a:off x="701492" y="326635"/>
          <a:ext cx="6309068" cy="565926"/>
        </a:xfrm>
        <a:prstGeom prst="rect">
          <a:avLst/>
        </a:prstGeom>
        <a:solidFill>
          <a:srgbClr val="C0504D">
            <a:hueOff val="0"/>
            <a:satOff val="0"/>
            <a:lumOff val="0"/>
          </a:srgb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Introduction</a:t>
          </a:r>
          <a:endParaRPr lang="en-SG" sz="29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701492" y="326635"/>
        <a:ext cx="6309068" cy="565926"/>
      </dsp:txXfrm>
    </dsp:sp>
    <dsp:sp modelId="{111D6A6A-75A1-4CC2-BC05-305810A6C53A}">
      <dsp:nvSpPr>
        <dsp:cNvPr id="0" name=""/>
        <dsp:cNvSpPr/>
      </dsp:nvSpPr>
      <dsp:spPr>
        <a:xfrm>
          <a:off x="73522" y="212041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0B2677-CD80-4B31-BD56-8DAF5D8B611A}">
      <dsp:nvSpPr>
        <dsp:cNvPr id="0" name=""/>
        <dsp:cNvSpPr/>
      </dsp:nvSpPr>
      <dsp:spPr>
        <a:xfrm>
          <a:off x="832752" y="1131400"/>
          <a:ext cx="6191364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832752" y="1131400"/>
        <a:ext cx="6191364" cy="565926"/>
      </dsp:txXfrm>
    </dsp:sp>
    <dsp:sp modelId="{E963B212-DC64-41B5-9D12-964D9682514A}">
      <dsp:nvSpPr>
        <dsp:cNvPr id="0" name=""/>
        <dsp:cNvSpPr/>
      </dsp:nvSpPr>
      <dsp:spPr>
        <a:xfrm>
          <a:off x="479048" y="1060659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E52F00-BBFE-4A45-AAFE-BE259353943C}">
      <dsp:nvSpPr>
        <dsp:cNvPr id="0" name=""/>
        <dsp:cNvSpPr/>
      </dsp:nvSpPr>
      <dsp:spPr>
        <a:xfrm>
          <a:off x="1019463" y="2006084"/>
          <a:ext cx="6066900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Solution Review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1019463" y="2006084"/>
        <a:ext cx="6066900" cy="565926"/>
      </dsp:txXfrm>
    </dsp:sp>
    <dsp:sp modelId="{7C738C1C-C737-407C-BD98-4A2A76335A10}">
      <dsp:nvSpPr>
        <dsp:cNvPr id="0" name=""/>
        <dsp:cNvSpPr/>
      </dsp:nvSpPr>
      <dsp:spPr>
        <a:xfrm>
          <a:off x="603512" y="1909277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703577-6949-4DEA-86D2-7C1A5634D688}">
      <dsp:nvSpPr>
        <dsp:cNvPr id="0" name=""/>
        <dsp:cNvSpPr/>
      </dsp:nvSpPr>
      <dsp:spPr>
        <a:xfrm>
          <a:off x="895235" y="2854702"/>
          <a:ext cx="6191364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Project Governance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895235" y="2854702"/>
        <a:ext cx="6191364" cy="565926"/>
      </dsp:txXfrm>
    </dsp:sp>
    <dsp:sp modelId="{CD070EC4-0545-48CF-9D05-A2D5EB82A552}">
      <dsp:nvSpPr>
        <dsp:cNvPr id="0" name=""/>
        <dsp:cNvSpPr/>
      </dsp:nvSpPr>
      <dsp:spPr>
        <a:xfrm>
          <a:off x="479048" y="2757895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29B301-0016-43D6-B2B9-9516B1112A98}">
      <dsp:nvSpPr>
        <dsp:cNvPr id="0" name=""/>
        <dsp:cNvSpPr/>
      </dsp:nvSpPr>
      <dsp:spPr>
        <a:xfrm>
          <a:off x="489709" y="3703320"/>
          <a:ext cx="6596890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489709" y="3703320"/>
        <a:ext cx="6596890" cy="565926"/>
      </dsp:txXfrm>
    </dsp:sp>
    <dsp:sp modelId="{41A4B0ED-9887-44C5-8498-9E2FDDC9AA75}">
      <dsp:nvSpPr>
        <dsp:cNvPr id="0" name=""/>
        <dsp:cNvSpPr/>
      </dsp:nvSpPr>
      <dsp:spPr>
        <a:xfrm>
          <a:off x="73522" y="3606513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16D042-368B-49DE-8DB8-109A44D85FB8}">
      <dsp:nvSpPr>
        <dsp:cNvPr id="0" name=""/>
        <dsp:cNvSpPr/>
      </dsp:nvSpPr>
      <dsp:spPr>
        <a:xfrm>
          <a:off x="-5662316" y="-783865"/>
          <a:ext cx="7184343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1BFDF3-A7D6-4BFA-BB7C-3C6A6CF8D0C4}">
      <dsp:nvSpPr>
        <dsp:cNvPr id="0" name=""/>
        <dsp:cNvSpPr/>
      </dsp:nvSpPr>
      <dsp:spPr>
        <a:xfrm>
          <a:off x="701492" y="326635"/>
          <a:ext cx="6309068" cy="565926"/>
        </a:xfrm>
        <a:prstGeom prst="rect">
          <a:avLst/>
        </a:prstGeom>
        <a:solidFill>
          <a:srgbClr val="A7A7A7"/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b="1" kern="1200" dirty="0" smtClean="0">
              <a:solidFill>
                <a:srgbClr val="B6B6B6"/>
              </a:solidFill>
              <a:latin typeface="Calibri"/>
              <a:ea typeface="+mn-ea"/>
              <a:cs typeface="+mn-cs"/>
            </a:rPr>
            <a:t>Introduction</a:t>
          </a:r>
          <a:endParaRPr lang="en-SG" sz="2900" b="1" kern="1200" dirty="0">
            <a:solidFill>
              <a:srgbClr val="B6B6B6"/>
            </a:solidFill>
            <a:latin typeface="Calibri"/>
            <a:ea typeface="+mn-ea"/>
            <a:cs typeface="+mn-cs"/>
          </a:endParaRPr>
        </a:p>
      </dsp:txBody>
      <dsp:txXfrm>
        <a:off x="701492" y="326635"/>
        <a:ext cx="6309068" cy="565926"/>
      </dsp:txXfrm>
    </dsp:sp>
    <dsp:sp modelId="{111D6A6A-75A1-4CC2-BC05-305810A6C53A}">
      <dsp:nvSpPr>
        <dsp:cNvPr id="0" name=""/>
        <dsp:cNvSpPr/>
      </dsp:nvSpPr>
      <dsp:spPr>
        <a:xfrm>
          <a:off x="73522" y="212041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0B2677-CD80-4B31-BD56-8DAF5D8B611A}">
      <dsp:nvSpPr>
        <dsp:cNvPr id="0" name=""/>
        <dsp:cNvSpPr/>
      </dsp:nvSpPr>
      <dsp:spPr>
        <a:xfrm>
          <a:off x="832752" y="1131400"/>
          <a:ext cx="6191364" cy="565926"/>
        </a:xfrm>
        <a:prstGeom prst="rect">
          <a:avLst/>
        </a:prstGeom>
        <a:solidFill>
          <a:srgbClr val="9DBE5A"/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kern="1200" dirty="0" smtClean="0">
              <a:solidFill>
                <a:schemeClr val="bg1"/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sz="2900" kern="1200" dirty="0">
            <a:solidFill>
              <a:schemeClr val="bg1"/>
            </a:solidFill>
            <a:latin typeface="Calibri"/>
            <a:ea typeface="+mn-ea"/>
            <a:cs typeface="+mn-cs"/>
          </a:endParaRPr>
        </a:p>
      </dsp:txBody>
      <dsp:txXfrm>
        <a:off x="832752" y="1131400"/>
        <a:ext cx="6191364" cy="565926"/>
      </dsp:txXfrm>
    </dsp:sp>
    <dsp:sp modelId="{E963B212-DC64-41B5-9D12-964D9682514A}">
      <dsp:nvSpPr>
        <dsp:cNvPr id="0" name=""/>
        <dsp:cNvSpPr/>
      </dsp:nvSpPr>
      <dsp:spPr>
        <a:xfrm>
          <a:off x="479048" y="1060659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E52F00-BBFE-4A45-AAFE-BE259353943C}">
      <dsp:nvSpPr>
        <dsp:cNvPr id="0" name=""/>
        <dsp:cNvSpPr/>
      </dsp:nvSpPr>
      <dsp:spPr>
        <a:xfrm>
          <a:off x="1019463" y="2006084"/>
          <a:ext cx="6066900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Solution Review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1019463" y="2006084"/>
        <a:ext cx="6066900" cy="565926"/>
      </dsp:txXfrm>
    </dsp:sp>
    <dsp:sp modelId="{7C738C1C-C737-407C-BD98-4A2A76335A10}">
      <dsp:nvSpPr>
        <dsp:cNvPr id="0" name=""/>
        <dsp:cNvSpPr/>
      </dsp:nvSpPr>
      <dsp:spPr>
        <a:xfrm>
          <a:off x="603512" y="1909277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703577-6949-4DEA-86D2-7C1A5634D688}">
      <dsp:nvSpPr>
        <dsp:cNvPr id="0" name=""/>
        <dsp:cNvSpPr/>
      </dsp:nvSpPr>
      <dsp:spPr>
        <a:xfrm>
          <a:off x="895235" y="2854702"/>
          <a:ext cx="6191364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Project Governance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895235" y="2854702"/>
        <a:ext cx="6191364" cy="565926"/>
      </dsp:txXfrm>
    </dsp:sp>
    <dsp:sp modelId="{CD070EC4-0545-48CF-9D05-A2D5EB82A552}">
      <dsp:nvSpPr>
        <dsp:cNvPr id="0" name=""/>
        <dsp:cNvSpPr/>
      </dsp:nvSpPr>
      <dsp:spPr>
        <a:xfrm>
          <a:off x="479048" y="2757895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29B301-0016-43D6-B2B9-9516B1112A98}">
      <dsp:nvSpPr>
        <dsp:cNvPr id="0" name=""/>
        <dsp:cNvSpPr/>
      </dsp:nvSpPr>
      <dsp:spPr>
        <a:xfrm>
          <a:off x="489709" y="3703320"/>
          <a:ext cx="6596890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489709" y="3703320"/>
        <a:ext cx="6596890" cy="565926"/>
      </dsp:txXfrm>
    </dsp:sp>
    <dsp:sp modelId="{41A4B0ED-9887-44C5-8498-9E2FDDC9AA75}">
      <dsp:nvSpPr>
        <dsp:cNvPr id="0" name=""/>
        <dsp:cNvSpPr/>
      </dsp:nvSpPr>
      <dsp:spPr>
        <a:xfrm>
          <a:off x="73522" y="3606513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16D042-368B-49DE-8DB8-109A44D85FB8}">
      <dsp:nvSpPr>
        <dsp:cNvPr id="0" name=""/>
        <dsp:cNvSpPr/>
      </dsp:nvSpPr>
      <dsp:spPr>
        <a:xfrm>
          <a:off x="-5662316" y="-783865"/>
          <a:ext cx="7184343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1BFDF3-A7D6-4BFA-BB7C-3C6A6CF8D0C4}">
      <dsp:nvSpPr>
        <dsp:cNvPr id="0" name=""/>
        <dsp:cNvSpPr/>
      </dsp:nvSpPr>
      <dsp:spPr>
        <a:xfrm>
          <a:off x="701492" y="326635"/>
          <a:ext cx="6309068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Introduction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701492" y="326635"/>
        <a:ext cx="6309068" cy="565926"/>
      </dsp:txXfrm>
    </dsp:sp>
    <dsp:sp modelId="{111D6A6A-75A1-4CC2-BC05-305810A6C53A}">
      <dsp:nvSpPr>
        <dsp:cNvPr id="0" name=""/>
        <dsp:cNvSpPr/>
      </dsp:nvSpPr>
      <dsp:spPr>
        <a:xfrm>
          <a:off x="73522" y="212041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0B2677-CD80-4B31-BD56-8DAF5D8B611A}">
      <dsp:nvSpPr>
        <dsp:cNvPr id="0" name=""/>
        <dsp:cNvSpPr/>
      </dsp:nvSpPr>
      <dsp:spPr>
        <a:xfrm>
          <a:off x="832752" y="1131400"/>
          <a:ext cx="6191364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832752" y="1131400"/>
        <a:ext cx="6191364" cy="565926"/>
      </dsp:txXfrm>
    </dsp:sp>
    <dsp:sp modelId="{E963B212-DC64-41B5-9D12-964D9682514A}">
      <dsp:nvSpPr>
        <dsp:cNvPr id="0" name=""/>
        <dsp:cNvSpPr/>
      </dsp:nvSpPr>
      <dsp:spPr>
        <a:xfrm>
          <a:off x="479048" y="1060659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E52F00-BBFE-4A45-AAFE-BE259353943C}">
      <dsp:nvSpPr>
        <dsp:cNvPr id="0" name=""/>
        <dsp:cNvSpPr/>
      </dsp:nvSpPr>
      <dsp:spPr>
        <a:xfrm>
          <a:off x="957216" y="1980018"/>
          <a:ext cx="6066900" cy="565926"/>
        </a:xfrm>
        <a:prstGeom prst="rect">
          <a:avLst/>
        </a:prstGeom>
        <a:solidFill>
          <a:srgbClr val="8064A2"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Solution Review</a:t>
          </a:r>
          <a:endParaRPr lang="en-SG" sz="29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957216" y="1980018"/>
        <a:ext cx="6066900" cy="565926"/>
      </dsp:txXfrm>
    </dsp:sp>
    <dsp:sp modelId="{7C738C1C-C737-407C-BD98-4A2A76335A10}">
      <dsp:nvSpPr>
        <dsp:cNvPr id="0" name=""/>
        <dsp:cNvSpPr/>
      </dsp:nvSpPr>
      <dsp:spPr>
        <a:xfrm>
          <a:off x="603512" y="1909277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703577-6949-4DEA-86D2-7C1A5634D688}">
      <dsp:nvSpPr>
        <dsp:cNvPr id="0" name=""/>
        <dsp:cNvSpPr/>
      </dsp:nvSpPr>
      <dsp:spPr>
        <a:xfrm>
          <a:off x="832752" y="2828636"/>
          <a:ext cx="6191364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Project Governance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832752" y="2828636"/>
        <a:ext cx="6191364" cy="565926"/>
      </dsp:txXfrm>
    </dsp:sp>
    <dsp:sp modelId="{CD070EC4-0545-48CF-9D05-A2D5EB82A552}">
      <dsp:nvSpPr>
        <dsp:cNvPr id="0" name=""/>
        <dsp:cNvSpPr/>
      </dsp:nvSpPr>
      <dsp:spPr>
        <a:xfrm>
          <a:off x="479048" y="2757895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29B301-0016-43D6-B2B9-9516B1112A98}">
      <dsp:nvSpPr>
        <dsp:cNvPr id="0" name=""/>
        <dsp:cNvSpPr/>
      </dsp:nvSpPr>
      <dsp:spPr>
        <a:xfrm>
          <a:off x="427226" y="3677254"/>
          <a:ext cx="6596890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427226" y="3677254"/>
        <a:ext cx="6596890" cy="565926"/>
      </dsp:txXfrm>
    </dsp:sp>
    <dsp:sp modelId="{41A4B0ED-9887-44C5-8498-9E2FDDC9AA75}">
      <dsp:nvSpPr>
        <dsp:cNvPr id="0" name=""/>
        <dsp:cNvSpPr/>
      </dsp:nvSpPr>
      <dsp:spPr>
        <a:xfrm>
          <a:off x="73522" y="3606513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16D042-368B-49DE-8DB8-109A44D85FB8}">
      <dsp:nvSpPr>
        <dsp:cNvPr id="0" name=""/>
        <dsp:cNvSpPr/>
      </dsp:nvSpPr>
      <dsp:spPr>
        <a:xfrm>
          <a:off x="-5662316" y="-783865"/>
          <a:ext cx="7184343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1BFDF3-A7D6-4BFA-BB7C-3C6A6CF8D0C4}">
      <dsp:nvSpPr>
        <dsp:cNvPr id="0" name=""/>
        <dsp:cNvSpPr/>
      </dsp:nvSpPr>
      <dsp:spPr>
        <a:xfrm>
          <a:off x="701492" y="326635"/>
          <a:ext cx="6309068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Introduction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701492" y="326635"/>
        <a:ext cx="6309068" cy="565926"/>
      </dsp:txXfrm>
    </dsp:sp>
    <dsp:sp modelId="{111D6A6A-75A1-4CC2-BC05-305810A6C53A}">
      <dsp:nvSpPr>
        <dsp:cNvPr id="0" name=""/>
        <dsp:cNvSpPr/>
      </dsp:nvSpPr>
      <dsp:spPr>
        <a:xfrm>
          <a:off x="73522" y="212041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0B2677-CD80-4B31-BD56-8DAF5D8B611A}">
      <dsp:nvSpPr>
        <dsp:cNvPr id="0" name=""/>
        <dsp:cNvSpPr/>
      </dsp:nvSpPr>
      <dsp:spPr>
        <a:xfrm>
          <a:off x="832752" y="1131400"/>
          <a:ext cx="6191364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832752" y="1131400"/>
        <a:ext cx="6191364" cy="565926"/>
      </dsp:txXfrm>
    </dsp:sp>
    <dsp:sp modelId="{E963B212-DC64-41B5-9D12-964D9682514A}">
      <dsp:nvSpPr>
        <dsp:cNvPr id="0" name=""/>
        <dsp:cNvSpPr/>
      </dsp:nvSpPr>
      <dsp:spPr>
        <a:xfrm>
          <a:off x="479048" y="1060659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E52F00-BBFE-4A45-AAFE-BE259353943C}">
      <dsp:nvSpPr>
        <dsp:cNvPr id="0" name=""/>
        <dsp:cNvSpPr/>
      </dsp:nvSpPr>
      <dsp:spPr>
        <a:xfrm>
          <a:off x="957216" y="1980018"/>
          <a:ext cx="6066900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Solution Review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957216" y="1980018"/>
        <a:ext cx="6066900" cy="565926"/>
      </dsp:txXfrm>
    </dsp:sp>
    <dsp:sp modelId="{7C738C1C-C737-407C-BD98-4A2A76335A10}">
      <dsp:nvSpPr>
        <dsp:cNvPr id="0" name=""/>
        <dsp:cNvSpPr/>
      </dsp:nvSpPr>
      <dsp:spPr>
        <a:xfrm>
          <a:off x="603512" y="1909277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703577-6949-4DEA-86D2-7C1A5634D688}">
      <dsp:nvSpPr>
        <dsp:cNvPr id="0" name=""/>
        <dsp:cNvSpPr/>
      </dsp:nvSpPr>
      <dsp:spPr>
        <a:xfrm>
          <a:off x="832752" y="2828636"/>
          <a:ext cx="6191364" cy="565926"/>
        </a:xfrm>
        <a:prstGeom prst="rect">
          <a:avLst/>
        </a:prstGeom>
        <a:solidFill>
          <a:srgbClr val="4BACC6"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Project Governance</a:t>
          </a:r>
          <a:endParaRPr lang="en-SG" sz="29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832752" y="2828636"/>
        <a:ext cx="6191364" cy="565926"/>
      </dsp:txXfrm>
    </dsp:sp>
    <dsp:sp modelId="{CD070EC4-0545-48CF-9D05-A2D5EB82A552}">
      <dsp:nvSpPr>
        <dsp:cNvPr id="0" name=""/>
        <dsp:cNvSpPr/>
      </dsp:nvSpPr>
      <dsp:spPr>
        <a:xfrm>
          <a:off x="479048" y="2757895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29B301-0016-43D6-B2B9-9516B1112A98}">
      <dsp:nvSpPr>
        <dsp:cNvPr id="0" name=""/>
        <dsp:cNvSpPr/>
      </dsp:nvSpPr>
      <dsp:spPr>
        <a:xfrm>
          <a:off x="427226" y="3677254"/>
          <a:ext cx="6596890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427226" y="3677254"/>
        <a:ext cx="6596890" cy="565926"/>
      </dsp:txXfrm>
    </dsp:sp>
    <dsp:sp modelId="{41A4B0ED-9887-44C5-8498-9E2FDDC9AA75}">
      <dsp:nvSpPr>
        <dsp:cNvPr id="0" name=""/>
        <dsp:cNvSpPr/>
      </dsp:nvSpPr>
      <dsp:spPr>
        <a:xfrm>
          <a:off x="73522" y="3606513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2069A4-6B58-4306-B396-A7E1A6A05EEE}">
      <dsp:nvSpPr>
        <dsp:cNvPr id="0" name=""/>
        <dsp:cNvSpPr/>
      </dsp:nvSpPr>
      <dsp:spPr>
        <a:xfrm>
          <a:off x="1097949" y="1012"/>
          <a:ext cx="2536929" cy="88132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/>
            <a:t>Singtel Project Sponsor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andip, Yen</a:t>
          </a:r>
        </a:p>
      </dsp:txBody>
      <dsp:txXfrm>
        <a:off x="1123762" y="26825"/>
        <a:ext cx="2485303" cy="829702"/>
      </dsp:txXfrm>
    </dsp:sp>
    <dsp:sp modelId="{B1B84E51-BED7-43E3-A338-5150DEBF9787}">
      <dsp:nvSpPr>
        <dsp:cNvPr id="0" name=""/>
        <dsp:cNvSpPr/>
      </dsp:nvSpPr>
      <dsp:spPr>
        <a:xfrm>
          <a:off x="1351642" y="882341"/>
          <a:ext cx="253692" cy="8697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69785"/>
              </a:lnTo>
              <a:lnTo>
                <a:pt x="253692" y="86978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B9A884-F003-4DB3-BF43-7F0C9B8F8654}">
      <dsp:nvSpPr>
        <dsp:cNvPr id="0" name=""/>
        <dsp:cNvSpPr/>
      </dsp:nvSpPr>
      <dsp:spPr>
        <a:xfrm>
          <a:off x="1605335" y="1311462"/>
          <a:ext cx="2029543" cy="8813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Service Delivery Director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David Tan</a:t>
          </a:r>
        </a:p>
      </dsp:txBody>
      <dsp:txXfrm>
        <a:off x="1631148" y="1337275"/>
        <a:ext cx="1977917" cy="829702"/>
      </dsp:txXfrm>
    </dsp:sp>
    <dsp:sp modelId="{2FD5A129-D4CF-4F0B-9E0A-6B6BE7FBF1EB}">
      <dsp:nvSpPr>
        <dsp:cNvPr id="0" name=""/>
        <dsp:cNvSpPr/>
      </dsp:nvSpPr>
      <dsp:spPr>
        <a:xfrm>
          <a:off x="1351642" y="882341"/>
          <a:ext cx="253692" cy="2180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0235"/>
              </a:lnTo>
              <a:lnTo>
                <a:pt x="253692" y="218023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40315B-15CA-4470-B9DB-E991ECD48B57}">
      <dsp:nvSpPr>
        <dsp:cNvPr id="0" name=""/>
        <dsp:cNvSpPr/>
      </dsp:nvSpPr>
      <dsp:spPr>
        <a:xfrm>
          <a:off x="1605335" y="2621912"/>
          <a:ext cx="2029543" cy="8813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Service Delivery Manager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Yeo Choon Siong</a:t>
          </a:r>
        </a:p>
      </dsp:txBody>
      <dsp:txXfrm>
        <a:off x="1631148" y="2647725"/>
        <a:ext cx="1977917" cy="829702"/>
      </dsp:txXfrm>
    </dsp:sp>
    <dsp:sp modelId="{F09E6E5E-523F-4BEF-9CC8-0AE5BD081A64}">
      <dsp:nvSpPr>
        <dsp:cNvPr id="0" name=""/>
        <dsp:cNvSpPr/>
      </dsp:nvSpPr>
      <dsp:spPr>
        <a:xfrm>
          <a:off x="1351642" y="882341"/>
          <a:ext cx="253692" cy="34906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90685"/>
              </a:lnTo>
              <a:lnTo>
                <a:pt x="253692" y="349068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F93A92-F0C0-4E67-9904-FE99D6657E2A}">
      <dsp:nvSpPr>
        <dsp:cNvPr id="0" name=""/>
        <dsp:cNvSpPr/>
      </dsp:nvSpPr>
      <dsp:spPr>
        <a:xfrm>
          <a:off x="1605335" y="3932362"/>
          <a:ext cx="2029543" cy="8813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Change Manager</a:t>
          </a:r>
          <a:br>
            <a:rPr lang="en-US" sz="1600" b="1" kern="1200" dirty="0"/>
          </a:br>
          <a:r>
            <a:rPr lang="en-US" sz="1600" b="0" kern="1200" dirty="0"/>
            <a:t>Paul Southern</a:t>
          </a:r>
        </a:p>
      </dsp:txBody>
      <dsp:txXfrm>
        <a:off x="1631148" y="3958175"/>
        <a:ext cx="1977917" cy="829702"/>
      </dsp:txXfrm>
    </dsp:sp>
    <dsp:sp modelId="{DD91284C-3AFE-4368-AB15-37A1AB93265C}">
      <dsp:nvSpPr>
        <dsp:cNvPr id="0" name=""/>
        <dsp:cNvSpPr/>
      </dsp:nvSpPr>
      <dsp:spPr>
        <a:xfrm>
          <a:off x="4493121" y="1012"/>
          <a:ext cx="2536929" cy="88132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/>
            <a:t>CapitaLand Project Sponsor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Mung </a:t>
          </a:r>
          <a:r>
            <a:rPr lang="en-US" sz="1800" kern="1200" dirty="0" err="1"/>
            <a:t>Hou</a:t>
          </a:r>
          <a:endParaRPr lang="en-US" sz="1800" kern="1200" dirty="0"/>
        </a:p>
      </dsp:txBody>
      <dsp:txXfrm>
        <a:off x="4518934" y="26825"/>
        <a:ext cx="2485303" cy="829702"/>
      </dsp:txXfrm>
    </dsp:sp>
    <dsp:sp modelId="{7C74DECD-88BE-4DF1-87C1-AAD31EAF6460}">
      <dsp:nvSpPr>
        <dsp:cNvPr id="0" name=""/>
        <dsp:cNvSpPr/>
      </dsp:nvSpPr>
      <dsp:spPr>
        <a:xfrm>
          <a:off x="4746814" y="882341"/>
          <a:ext cx="253692" cy="8697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69785"/>
              </a:lnTo>
              <a:lnTo>
                <a:pt x="253692" y="86978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CA5C4B-6300-42BE-97C8-FC7C1CD25FD4}">
      <dsp:nvSpPr>
        <dsp:cNvPr id="0" name=""/>
        <dsp:cNvSpPr/>
      </dsp:nvSpPr>
      <dsp:spPr>
        <a:xfrm>
          <a:off x="5000507" y="1311462"/>
          <a:ext cx="2029543" cy="8813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EUC &amp; SD Management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Nicholas Too</a:t>
          </a:r>
        </a:p>
      </dsp:txBody>
      <dsp:txXfrm>
        <a:off x="5026320" y="1337275"/>
        <a:ext cx="1977917" cy="829702"/>
      </dsp:txXfrm>
    </dsp:sp>
    <dsp:sp modelId="{D89C710C-5E08-486E-B905-47BB5A508525}">
      <dsp:nvSpPr>
        <dsp:cNvPr id="0" name=""/>
        <dsp:cNvSpPr/>
      </dsp:nvSpPr>
      <dsp:spPr>
        <a:xfrm>
          <a:off x="4746814" y="882341"/>
          <a:ext cx="253692" cy="2180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0235"/>
              </a:lnTo>
              <a:lnTo>
                <a:pt x="253692" y="218023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C37BFB-97BF-4137-A293-F7F104646444}">
      <dsp:nvSpPr>
        <dsp:cNvPr id="0" name=""/>
        <dsp:cNvSpPr/>
      </dsp:nvSpPr>
      <dsp:spPr>
        <a:xfrm>
          <a:off x="5000507" y="2621912"/>
          <a:ext cx="2029543" cy="8813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Infra Management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Eric Wong</a:t>
          </a:r>
        </a:p>
      </dsp:txBody>
      <dsp:txXfrm>
        <a:off x="5026320" y="2647725"/>
        <a:ext cx="1977917" cy="829702"/>
      </dsp:txXfrm>
    </dsp:sp>
    <dsp:sp modelId="{FFFA18EB-7D46-4660-BD20-CC1DA337E8E5}">
      <dsp:nvSpPr>
        <dsp:cNvPr id="0" name=""/>
        <dsp:cNvSpPr/>
      </dsp:nvSpPr>
      <dsp:spPr>
        <a:xfrm>
          <a:off x="4746814" y="882341"/>
          <a:ext cx="253692" cy="34906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90685"/>
              </a:lnTo>
              <a:lnTo>
                <a:pt x="253692" y="349068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8872F9-4BFF-445B-84DF-309F7C06F508}">
      <dsp:nvSpPr>
        <dsp:cNvPr id="0" name=""/>
        <dsp:cNvSpPr/>
      </dsp:nvSpPr>
      <dsp:spPr>
        <a:xfrm>
          <a:off x="5000507" y="3932362"/>
          <a:ext cx="2029543" cy="8813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Change Manager</a:t>
          </a:r>
          <a:br>
            <a:rPr lang="en-US" sz="1600" b="1" kern="1200" dirty="0"/>
          </a:br>
          <a:r>
            <a:rPr lang="en-US" sz="1600" b="0" kern="1200" dirty="0">
              <a:solidFill>
                <a:srgbClr val="FF0000"/>
              </a:solidFill>
            </a:rPr>
            <a:t>TBC</a:t>
          </a:r>
        </a:p>
      </dsp:txBody>
      <dsp:txXfrm>
        <a:off x="5026320" y="3958175"/>
        <a:ext cx="1977917" cy="82970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8E4D00-1812-4B74-98F6-0B0E44E881CD}">
      <dsp:nvSpPr>
        <dsp:cNvPr id="0" name=""/>
        <dsp:cNvSpPr/>
      </dsp:nvSpPr>
      <dsp:spPr>
        <a:xfrm>
          <a:off x="3197758" y="2072563"/>
          <a:ext cx="91440" cy="4320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2019"/>
              </a:lnTo>
              <a:lnTo>
                <a:pt x="61527" y="432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55142F-7F4E-4283-8344-528E08679EB9}">
      <dsp:nvSpPr>
        <dsp:cNvPr id="0" name=""/>
        <dsp:cNvSpPr/>
      </dsp:nvSpPr>
      <dsp:spPr>
        <a:xfrm>
          <a:off x="3243478" y="2072563"/>
          <a:ext cx="1377981" cy="4041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4184"/>
              </a:lnTo>
              <a:lnTo>
                <a:pt x="1377981" y="40418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1E1C1F-2A45-4012-959D-4109D64A5978}">
      <dsp:nvSpPr>
        <dsp:cNvPr id="0" name=""/>
        <dsp:cNvSpPr/>
      </dsp:nvSpPr>
      <dsp:spPr>
        <a:xfrm>
          <a:off x="3085982" y="2072563"/>
          <a:ext cx="157495" cy="407605"/>
        </a:xfrm>
        <a:custGeom>
          <a:avLst/>
          <a:gdLst/>
          <a:ahLst/>
          <a:cxnLst/>
          <a:rect l="0" t="0" r="0" b="0"/>
          <a:pathLst>
            <a:path>
              <a:moveTo>
                <a:pt x="157495" y="0"/>
              </a:moveTo>
              <a:lnTo>
                <a:pt x="157495" y="407605"/>
              </a:lnTo>
              <a:lnTo>
                <a:pt x="0" y="40760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D66765-0D4A-43AC-B680-01ED08F833B3}">
      <dsp:nvSpPr>
        <dsp:cNvPr id="0" name=""/>
        <dsp:cNvSpPr/>
      </dsp:nvSpPr>
      <dsp:spPr>
        <a:xfrm>
          <a:off x="6821498" y="4564115"/>
          <a:ext cx="464215" cy="1206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118"/>
              </a:lnTo>
              <a:lnTo>
                <a:pt x="464215" y="34118"/>
              </a:lnTo>
              <a:lnTo>
                <a:pt x="464215" y="12060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39FE3A-EB22-4FE7-8084-C26F4CF0B6CC}">
      <dsp:nvSpPr>
        <dsp:cNvPr id="0" name=""/>
        <dsp:cNvSpPr/>
      </dsp:nvSpPr>
      <dsp:spPr>
        <a:xfrm>
          <a:off x="5929990" y="4564115"/>
          <a:ext cx="891507" cy="120609"/>
        </a:xfrm>
        <a:custGeom>
          <a:avLst/>
          <a:gdLst/>
          <a:ahLst/>
          <a:cxnLst/>
          <a:rect l="0" t="0" r="0" b="0"/>
          <a:pathLst>
            <a:path>
              <a:moveTo>
                <a:pt x="891507" y="0"/>
              </a:moveTo>
              <a:lnTo>
                <a:pt x="891507" y="34118"/>
              </a:lnTo>
              <a:lnTo>
                <a:pt x="0" y="34118"/>
              </a:lnTo>
              <a:lnTo>
                <a:pt x="0" y="12060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D24475-C752-40CF-94E7-C16CA754D690}">
      <dsp:nvSpPr>
        <dsp:cNvPr id="0" name=""/>
        <dsp:cNvSpPr/>
      </dsp:nvSpPr>
      <dsp:spPr>
        <a:xfrm>
          <a:off x="3243478" y="2072563"/>
          <a:ext cx="3578019" cy="21208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34387"/>
              </a:lnTo>
              <a:lnTo>
                <a:pt x="3578019" y="2034387"/>
              </a:lnTo>
              <a:lnTo>
                <a:pt x="3578019" y="212087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223B76-EFD5-4809-B271-A0FE2AF321A8}">
      <dsp:nvSpPr>
        <dsp:cNvPr id="0" name=""/>
        <dsp:cNvSpPr/>
      </dsp:nvSpPr>
      <dsp:spPr>
        <a:xfrm>
          <a:off x="3156111" y="4564115"/>
          <a:ext cx="955958" cy="1206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118"/>
              </a:lnTo>
              <a:lnTo>
                <a:pt x="955958" y="34118"/>
              </a:lnTo>
              <a:lnTo>
                <a:pt x="955958" y="12060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619440-0572-4C7C-B6A8-81BB958CC655}">
      <dsp:nvSpPr>
        <dsp:cNvPr id="0" name=""/>
        <dsp:cNvSpPr/>
      </dsp:nvSpPr>
      <dsp:spPr>
        <a:xfrm>
          <a:off x="2715674" y="4564115"/>
          <a:ext cx="440436" cy="120609"/>
        </a:xfrm>
        <a:custGeom>
          <a:avLst/>
          <a:gdLst/>
          <a:ahLst/>
          <a:cxnLst/>
          <a:rect l="0" t="0" r="0" b="0"/>
          <a:pathLst>
            <a:path>
              <a:moveTo>
                <a:pt x="440436" y="0"/>
              </a:moveTo>
              <a:lnTo>
                <a:pt x="440436" y="34118"/>
              </a:lnTo>
              <a:lnTo>
                <a:pt x="0" y="34118"/>
              </a:lnTo>
              <a:lnTo>
                <a:pt x="0" y="12060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289DE4-AEC6-498E-B3FB-B65054D0EB53}">
      <dsp:nvSpPr>
        <dsp:cNvPr id="0" name=""/>
        <dsp:cNvSpPr/>
      </dsp:nvSpPr>
      <dsp:spPr>
        <a:xfrm>
          <a:off x="1319279" y="4564115"/>
          <a:ext cx="1836831" cy="120609"/>
        </a:xfrm>
        <a:custGeom>
          <a:avLst/>
          <a:gdLst/>
          <a:ahLst/>
          <a:cxnLst/>
          <a:rect l="0" t="0" r="0" b="0"/>
          <a:pathLst>
            <a:path>
              <a:moveTo>
                <a:pt x="1836831" y="0"/>
              </a:moveTo>
              <a:lnTo>
                <a:pt x="1836831" y="34118"/>
              </a:lnTo>
              <a:lnTo>
                <a:pt x="0" y="34118"/>
              </a:lnTo>
              <a:lnTo>
                <a:pt x="0" y="12060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0B6D52-8D66-42FB-B258-8262B668B611}">
      <dsp:nvSpPr>
        <dsp:cNvPr id="0" name=""/>
        <dsp:cNvSpPr/>
      </dsp:nvSpPr>
      <dsp:spPr>
        <a:xfrm>
          <a:off x="3110391" y="2072563"/>
          <a:ext cx="91440" cy="2120878"/>
        </a:xfrm>
        <a:custGeom>
          <a:avLst/>
          <a:gdLst/>
          <a:ahLst/>
          <a:cxnLst/>
          <a:rect l="0" t="0" r="0" b="0"/>
          <a:pathLst>
            <a:path>
              <a:moveTo>
                <a:pt x="133087" y="0"/>
              </a:moveTo>
              <a:lnTo>
                <a:pt x="133087" y="2034387"/>
              </a:lnTo>
              <a:lnTo>
                <a:pt x="45720" y="2034387"/>
              </a:lnTo>
              <a:lnTo>
                <a:pt x="45720" y="212087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50FB2C-9B69-4ADE-9CB7-1C60B57B8ACC}">
      <dsp:nvSpPr>
        <dsp:cNvPr id="0" name=""/>
        <dsp:cNvSpPr/>
      </dsp:nvSpPr>
      <dsp:spPr>
        <a:xfrm>
          <a:off x="2088078" y="2072563"/>
          <a:ext cx="1155400" cy="1034952"/>
        </a:xfrm>
        <a:custGeom>
          <a:avLst/>
          <a:gdLst/>
          <a:ahLst/>
          <a:cxnLst/>
          <a:rect l="0" t="0" r="0" b="0"/>
          <a:pathLst>
            <a:path>
              <a:moveTo>
                <a:pt x="1155400" y="0"/>
              </a:moveTo>
              <a:lnTo>
                <a:pt x="1155400" y="948461"/>
              </a:lnTo>
              <a:lnTo>
                <a:pt x="0" y="948461"/>
              </a:lnTo>
              <a:lnTo>
                <a:pt x="0" y="10349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5D4B44-1DB3-4918-89E9-EE1861171FE4}">
      <dsp:nvSpPr>
        <dsp:cNvPr id="0" name=""/>
        <dsp:cNvSpPr/>
      </dsp:nvSpPr>
      <dsp:spPr>
        <a:xfrm>
          <a:off x="694883" y="2072563"/>
          <a:ext cx="2548595" cy="1034952"/>
        </a:xfrm>
        <a:custGeom>
          <a:avLst/>
          <a:gdLst/>
          <a:ahLst/>
          <a:cxnLst/>
          <a:rect l="0" t="0" r="0" b="0"/>
          <a:pathLst>
            <a:path>
              <a:moveTo>
                <a:pt x="2548595" y="0"/>
              </a:moveTo>
              <a:lnTo>
                <a:pt x="2548595" y="948461"/>
              </a:lnTo>
              <a:lnTo>
                <a:pt x="0" y="948461"/>
              </a:lnTo>
              <a:lnTo>
                <a:pt x="0" y="10349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86D93A-D1B4-4780-859C-E0C26612B90A}">
      <dsp:nvSpPr>
        <dsp:cNvPr id="0" name=""/>
        <dsp:cNvSpPr/>
      </dsp:nvSpPr>
      <dsp:spPr>
        <a:xfrm>
          <a:off x="2633371" y="1632996"/>
          <a:ext cx="1220213" cy="4395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Service Delivery Director</a:t>
          </a:r>
        </a:p>
      </dsp:txBody>
      <dsp:txXfrm>
        <a:off x="2633371" y="1632996"/>
        <a:ext cx="1220213" cy="439567"/>
      </dsp:txXfrm>
    </dsp:sp>
    <dsp:sp modelId="{64911769-6F38-4FD6-BE18-E156EA17398F}">
      <dsp:nvSpPr>
        <dsp:cNvPr id="0" name=""/>
        <dsp:cNvSpPr/>
      </dsp:nvSpPr>
      <dsp:spPr>
        <a:xfrm>
          <a:off x="3254307" y="1968959"/>
          <a:ext cx="644331" cy="1780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David Tan</a:t>
          </a:r>
        </a:p>
      </dsp:txBody>
      <dsp:txXfrm>
        <a:off x="3254307" y="1968959"/>
        <a:ext cx="644331" cy="178088"/>
      </dsp:txXfrm>
    </dsp:sp>
    <dsp:sp modelId="{43E53147-0976-4FF2-B844-98A634C5900E}">
      <dsp:nvSpPr>
        <dsp:cNvPr id="0" name=""/>
        <dsp:cNvSpPr/>
      </dsp:nvSpPr>
      <dsp:spPr>
        <a:xfrm>
          <a:off x="84776" y="3107515"/>
          <a:ext cx="1220213" cy="4363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Process Manager</a:t>
          </a:r>
        </a:p>
      </dsp:txBody>
      <dsp:txXfrm>
        <a:off x="84776" y="3107515"/>
        <a:ext cx="1220213" cy="436375"/>
      </dsp:txXfrm>
    </dsp:sp>
    <dsp:sp modelId="{EDD8E5E9-48A8-4800-8821-4FDB2A73890F}">
      <dsp:nvSpPr>
        <dsp:cNvPr id="0" name=""/>
        <dsp:cNvSpPr/>
      </dsp:nvSpPr>
      <dsp:spPr>
        <a:xfrm>
          <a:off x="498656" y="3490525"/>
          <a:ext cx="823443" cy="18004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James Tan</a:t>
          </a:r>
        </a:p>
      </dsp:txBody>
      <dsp:txXfrm>
        <a:off x="498656" y="3490525"/>
        <a:ext cx="823443" cy="180043"/>
      </dsp:txXfrm>
    </dsp:sp>
    <dsp:sp modelId="{74B397B9-BF4D-4730-9C54-86E101C75463}">
      <dsp:nvSpPr>
        <dsp:cNvPr id="0" name=""/>
        <dsp:cNvSpPr/>
      </dsp:nvSpPr>
      <dsp:spPr>
        <a:xfrm>
          <a:off x="1477971" y="3107515"/>
          <a:ext cx="1220213" cy="4363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Service Desk Manager</a:t>
          </a:r>
        </a:p>
      </dsp:txBody>
      <dsp:txXfrm>
        <a:off x="1477971" y="3107515"/>
        <a:ext cx="1220213" cy="436375"/>
      </dsp:txXfrm>
    </dsp:sp>
    <dsp:sp modelId="{AF7B04E5-4871-489E-90D4-052F0AE4D44E}">
      <dsp:nvSpPr>
        <dsp:cNvPr id="0" name=""/>
        <dsp:cNvSpPr/>
      </dsp:nvSpPr>
      <dsp:spPr>
        <a:xfrm>
          <a:off x="1805497" y="3490525"/>
          <a:ext cx="910749" cy="18004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Wong Kar Wai</a:t>
          </a:r>
        </a:p>
      </dsp:txBody>
      <dsp:txXfrm>
        <a:off x="1805497" y="3490525"/>
        <a:ext cx="910749" cy="180043"/>
      </dsp:txXfrm>
    </dsp:sp>
    <dsp:sp modelId="{9B078EDA-7880-4DED-BD94-7D345B7A5808}">
      <dsp:nvSpPr>
        <dsp:cNvPr id="0" name=""/>
        <dsp:cNvSpPr/>
      </dsp:nvSpPr>
      <dsp:spPr>
        <a:xfrm>
          <a:off x="2798149" y="4193441"/>
          <a:ext cx="715924" cy="370673"/>
        </a:xfrm>
        <a:prstGeom prst="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>
              <a:latin typeface="Arial" panose="020B0604020202020204" pitchFamily="34" charset="0"/>
              <a:cs typeface="Arial" panose="020B0604020202020204" pitchFamily="34" charset="0"/>
            </a:rPr>
            <a:t>INFRA</a:t>
          </a:r>
        </a:p>
      </dsp:txBody>
      <dsp:txXfrm>
        <a:off x="2798149" y="4193441"/>
        <a:ext cx="715924" cy="370673"/>
      </dsp:txXfrm>
    </dsp:sp>
    <dsp:sp modelId="{E451B8C2-DF00-47FF-8F88-2E400C52BEB0}">
      <dsp:nvSpPr>
        <dsp:cNvPr id="0" name=""/>
        <dsp:cNvSpPr/>
      </dsp:nvSpPr>
      <dsp:spPr>
        <a:xfrm>
          <a:off x="7278802" y="3357656"/>
          <a:ext cx="644331" cy="12355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5080" rIns="20320" bIns="5080" numCol="1" spcCol="1270" anchor="ctr" anchorCtr="0">
          <a:noAutofit/>
        </a:bodyPr>
        <a:lstStyle/>
        <a:p>
          <a:pPr lvl="0" algn="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 dirty="0"/>
        </a:p>
      </dsp:txBody>
      <dsp:txXfrm>
        <a:off x="7278802" y="3357656"/>
        <a:ext cx="644331" cy="123557"/>
      </dsp:txXfrm>
    </dsp:sp>
    <dsp:sp modelId="{AEDCB40E-76FB-4D8E-9995-6B610D083BE2}">
      <dsp:nvSpPr>
        <dsp:cNvPr id="0" name=""/>
        <dsp:cNvSpPr/>
      </dsp:nvSpPr>
      <dsp:spPr>
        <a:xfrm>
          <a:off x="707572" y="4684724"/>
          <a:ext cx="1223414" cy="3926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Operation Manager (SG)</a:t>
          </a:r>
        </a:p>
      </dsp:txBody>
      <dsp:txXfrm>
        <a:off x="707572" y="4684724"/>
        <a:ext cx="1223414" cy="392621"/>
      </dsp:txXfrm>
    </dsp:sp>
    <dsp:sp modelId="{286D1F6F-ACFD-4D81-9A32-E909D7B909B8}">
      <dsp:nvSpPr>
        <dsp:cNvPr id="0" name=""/>
        <dsp:cNvSpPr/>
      </dsp:nvSpPr>
      <dsp:spPr>
        <a:xfrm>
          <a:off x="1182033" y="5002164"/>
          <a:ext cx="764428" cy="1780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David Wong</a:t>
          </a:r>
        </a:p>
      </dsp:txBody>
      <dsp:txXfrm>
        <a:off x="1182033" y="5002164"/>
        <a:ext cx="764428" cy="178088"/>
      </dsp:txXfrm>
    </dsp:sp>
    <dsp:sp modelId="{C72A4AB7-8CF8-4B69-8EE7-A348228E67CF}">
      <dsp:nvSpPr>
        <dsp:cNvPr id="0" name=""/>
        <dsp:cNvSpPr/>
      </dsp:nvSpPr>
      <dsp:spPr>
        <a:xfrm>
          <a:off x="2103967" y="4684724"/>
          <a:ext cx="1223414" cy="3926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Operation Manager (CN)</a:t>
          </a:r>
        </a:p>
      </dsp:txBody>
      <dsp:txXfrm>
        <a:off x="2103967" y="4684724"/>
        <a:ext cx="1223414" cy="392621"/>
      </dsp:txXfrm>
    </dsp:sp>
    <dsp:sp modelId="{4A964AEB-3EA5-4F06-B1E8-CD7944F15EBC}">
      <dsp:nvSpPr>
        <dsp:cNvPr id="0" name=""/>
        <dsp:cNvSpPr/>
      </dsp:nvSpPr>
      <dsp:spPr>
        <a:xfrm>
          <a:off x="2578428" y="5002164"/>
          <a:ext cx="764428" cy="1780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TBC</a:t>
          </a:r>
        </a:p>
      </dsp:txBody>
      <dsp:txXfrm>
        <a:off x="2578428" y="5002164"/>
        <a:ext cx="764428" cy="178088"/>
      </dsp:txXfrm>
    </dsp:sp>
    <dsp:sp modelId="{2CDACD4A-71E3-4DA8-9D66-4D967E34D4D9}">
      <dsp:nvSpPr>
        <dsp:cNvPr id="0" name=""/>
        <dsp:cNvSpPr/>
      </dsp:nvSpPr>
      <dsp:spPr>
        <a:xfrm>
          <a:off x="3500362" y="4684724"/>
          <a:ext cx="1223414" cy="3926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Technical Solution Manager</a:t>
          </a:r>
        </a:p>
      </dsp:txBody>
      <dsp:txXfrm>
        <a:off x="3500362" y="4684724"/>
        <a:ext cx="1223414" cy="392621"/>
      </dsp:txXfrm>
    </dsp:sp>
    <dsp:sp modelId="{4F1A9EB3-F182-4223-BD03-8C785222F094}">
      <dsp:nvSpPr>
        <dsp:cNvPr id="0" name=""/>
        <dsp:cNvSpPr/>
      </dsp:nvSpPr>
      <dsp:spPr>
        <a:xfrm>
          <a:off x="3974823" y="5002164"/>
          <a:ext cx="764428" cy="1780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Au Wai Yip</a:t>
          </a:r>
        </a:p>
      </dsp:txBody>
      <dsp:txXfrm>
        <a:off x="3974823" y="5002164"/>
        <a:ext cx="764428" cy="178088"/>
      </dsp:txXfrm>
    </dsp:sp>
    <dsp:sp modelId="{B4EE3F85-FABF-4DDA-9A03-2E77F287EB2B}">
      <dsp:nvSpPr>
        <dsp:cNvPr id="0" name=""/>
        <dsp:cNvSpPr/>
      </dsp:nvSpPr>
      <dsp:spPr>
        <a:xfrm>
          <a:off x="6463536" y="4193441"/>
          <a:ext cx="715924" cy="370673"/>
        </a:xfrm>
        <a:prstGeom prst="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>
              <a:latin typeface="Arial" panose="020B0604020202020204" pitchFamily="34" charset="0"/>
              <a:cs typeface="Arial" panose="020B0604020202020204" pitchFamily="34" charset="0"/>
            </a:rPr>
            <a:t>EUC</a:t>
          </a:r>
        </a:p>
      </dsp:txBody>
      <dsp:txXfrm>
        <a:off x="6463536" y="4193441"/>
        <a:ext cx="715924" cy="370673"/>
      </dsp:txXfrm>
    </dsp:sp>
    <dsp:sp modelId="{E2100F59-529E-4DDB-8DC8-7061D3C5CE11}">
      <dsp:nvSpPr>
        <dsp:cNvPr id="0" name=""/>
        <dsp:cNvSpPr/>
      </dsp:nvSpPr>
      <dsp:spPr>
        <a:xfrm>
          <a:off x="7424918" y="3219206"/>
          <a:ext cx="644331" cy="12355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5080" rIns="20320" bIns="5080" numCol="1" spcCol="1270" anchor="ctr" anchorCtr="0">
          <a:noAutofit/>
        </a:bodyPr>
        <a:lstStyle/>
        <a:p>
          <a:pPr lvl="0" algn="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7424918" y="3219206"/>
        <a:ext cx="644331" cy="123557"/>
      </dsp:txXfrm>
    </dsp:sp>
    <dsp:sp modelId="{F0A90B04-9D89-4F07-B021-15A4E46DE3BA}">
      <dsp:nvSpPr>
        <dsp:cNvPr id="0" name=""/>
        <dsp:cNvSpPr/>
      </dsp:nvSpPr>
      <dsp:spPr>
        <a:xfrm>
          <a:off x="5338619" y="4684724"/>
          <a:ext cx="1182742" cy="3926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Operation Manager</a:t>
          </a:r>
        </a:p>
      </dsp:txBody>
      <dsp:txXfrm>
        <a:off x="5338619" y="4684724"/>
        <a:ext cx="1182742" cy="392621"/>
      </dsp:txXfrm>
    </dsp:sp>
    <dsp:sp modelId="{4EFD663A-50E0-4199-B89B-690FB75D3827}">
      <dsp:nvSpPr>
        <dsp:cNvPr id="0" name=""/>
        <dsp:cNvSpPr/>
      </dsp:nvSpPr>
      <dsp:spPr>
        <a:xfrm>
          <a:off x="5613413" y="5009832"/>
          <a:ext cx="949899" cy="1780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Alphonsus. J</a:t>
          </a:r>
        </a:p>
      </dsp:txBody>
      <dsp:txXfrm>
        <a:off x="5613413" y="5009832"/>
        <a:ext cx="949899" cy="178088"/>
      </dsp:txXfrm>
    </dsp:sp>
    <dsp:sp modelId="{ECA65B0B-70F5-454A-8C38-0FB7BA3A4007}">
      <dsp:nvSpPr>
        <dsp:cNvPr id="0" name=""/>
        <dsp:cNvSpPr/>
      </dsp:nvSpPr>
      <dsp:spPr>
        <a:xfrm>
          <a:off x="6694342" y="4684724"/>
          <a:ext cx="1182742" cy="3926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EUC Manager</a:t>
          </a:r>
        </a:p>
      </dsp:txBody>
      <dsp:txXfrm>
        <a:off x="6694342" y="4684724"/>
        <a:ext cx="1182742" cy="392621"/>
      </dsp:txXfrm>
    </dsp:sp>
    <dsp:sp modelId="{B689121D-3C5C-4B8A-98DD-BD466D738FA8}">
      <dsp:nvSpPr>
        <dsp:cNvPr id="0" name=""/>
        <dsp:cNvSpPr/>
      </dsp:nvSpPr>
      <dsp:spPr>
        <a:xfrm>
          <a:off x="6940322" y="5002570"/>
          <a:ext cx="949899" cy="1780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Tristan Cheong</a:t>
          </a:r>
        </a:p>
      </dsp:txBody>
      <dsp:txXfrm>
        <a:off x="6940322" y="5002570"/>
        <a:ext cx="949899" cy="178088"/>
      </dsp:txXfrm>
    </dsp:sp>
    <dsp:sp modelId="{45FDE6ED-B03E-46F2-AD4F-89BDC4C3A94B}">
      <dsp:nvSpPr>
        <dsp:cNvPr id="0" name=""/>
        <dsp:cNvSpPr/>
      </dsp:nvSpPr>
      <dsp:spPr>
        <a:xfrm>
          <a:off x="1865769" y="2260385"/>
          <a:ext cx="1220213" cy="4395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ITIL Advisor</a:t>
          </a:r>
        </a:p>
      </dsp:txBody>
      <dsp:txXfrm>
        <a:off x="1865769" y="2260385"/>
        <a:ext cx="1220213" cy="439567"/>
      </dsp:txXfrm>
    </dsp:sp>
    <dsp:sp modelId="{9ADFFDB9-F2C8-4A16-BF25-4F49A4831CAE}">
      <dsp:nvSpPr>
        <dsp:cNvPr id="0" name=""/>
        <dsp:cNvSpPr/>
      </dsp:nvSpPr>
      <dsp:spPr>
        <a:xfrm>
          <a:off x="2470931" y="2647826"/>
          <a:ext cx="644331" cy="1780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TBC</a:t>
          </a:r>
        </a:p>
      </dsp:txBody>
      <dsp:txXfrm>
        <a:off x="2470931" y="2647826"/>
        <a:ext cx="644331" cy="178088"/>
      </dsp:txXfrm>
    </dsp:sp>
    <dsp:sp modelId="{B2C77A69-BD1E-4188-B09E-66203BCFE852}">
      <dsp:nvSpPr>
        <dsp:cNvPr id="0" name=""/>
        <dsp:cNvSpPr/>
      </dsp:nvSpPr>
      <dsp:spPr>
        <a:xfrm>
          <a:off x="4621460" y="2256964"/>
          <a:ext cx="1220213" cy="4395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Transition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Project Director</a:t>
          </a:r>
        </a:p>
      </dsp:txBody>
      <dsp:txXfrm>
        <a:off x="4621460" y="2256964"/>
        <a:ext cx="1220213" cy="439567"/>
      </dsp:txXfrm>
    </dsp:sp>
    <dsp:sp modelId="{DCB83738-4943-42DA-9F95-B71EF7FC211B}">
      <dsp:nvSpPr>
        <dsp:cNvPr id="0" name=""/>
        <dsp:cNvSpPr/>
      </dsp:nvSpPr>
      <dsp:spPr>
        <a:xfrm>
          <a:off x="4927924" y="2647470"/>
          <a:ext cx="950183" cy="1780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Paul Southern</a:t>
          </a:r>
        </a:p>
      </dsp:txBody>
      <dsp:txXfrm>
        <a:off x="4927924" y="2647470"/>
        <a:ext cx="950183" cy="178088"/>
      </dsp:txXfrm>
    </dsp:sp>
    <dsp:sp modelId="{C2A25893-B0B7-4B89-96A2-43369F64F243}">
      <dsp:nvSpPr>
        <dsp:cNvPr id="0" name=""/>
        <dsp:cNvSpPr/>
      </dsp:nvSpPr>
      <dsp:spPr>
        <a:xfrm>
          <a:off x="3259286" y="2284799"/>
          <a:ext cx="1220213" cy="4395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52306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Arial" panose="020B0604020202020204" pitchFamily="34" charset="0"/>
              <a:cs typeface="Arial" panose="020B0604020202020204" pitchFamily="34" charset="0"/>
            </a:rPr>
            <a:t>Service Delivery Manager</a:t>
          </a:r>
        </a:p>
      </dsp:txBody>
      <dsp:txXfrm>
        <a:off x="3259286" y="2284799"/>
        <a:ext cx="1220213" cy="439567"/>
      </dsp:txXfrm>
    </dsp:sp>
    <dsp:sp modelId="{26F86B9E-15F6-4318-8024-F02C1A6CB8C0}">
      <dsp:nvSpPr>
        <dsp:cNvPr id="0" name=""/>
        <dsp:cNvSpPr/>
      </dsp:nvSpPr>
      <dsp:spPr>
        <a:xfrm>
          <a:off x="3864897" y="2675091"/>
          <a:ext cx="644331" cy="1780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</a:rPr>
            <a:t>CS Yeo</a:t>
          </a:r>
        </a:p>
      </dsp:txBody>
      <dsp:txXfrm>
        <a:off x="3864897" y="2675091"/>
        <a:ext cx="644331" cy="17808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16D042-368B-49DE-8DB8-109A44D85FB8}">
      <dsp:nvSpPr>
        <dsp:cNvPr id="0" name=""/>
        <dsp:cNvSpPr/>
      </dsp:nvSpPr>
      <dsp:spPr>
        <a:xfrm>
          <a:off x="-5662316" y="-783865"/>
          <a:ext cx="7184343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rgbClr val="C0504D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1BFDF3-A7D6-4BFA-BB7C-3C6A6CF8D0C4}">
      <dsp:nvSpPr>
        <dsp:cNvPr id="0" name=""/>
        <dsp:cNvSpPr/>
      </dsp:nvSpPr>
      <dsp:spPr>
        <a:xfrm>
          <a:off x="701492" y="326635"/>
          <a:ext cx="6309068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Introduction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701492" y="326635"/>
        <a:ext cx="6309068" cy="565926"/>
      </dsp:txXfrm>
    </dsp:sp>
    <dsp:sp modelId="{111D6A6A-75A1-4CC2-BC05-305810A6C53A}">
      <dsp:nvSpPr>
        <dsp:cNvPr id="0" name=""/>
        <dsp:cNvSpPr/>
      </dsp:nvSpPr>
      <dsp:spPr>
        <a:xfrm>
          <a:off x="73522" y="212041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0B2677-CD80-4B31-BD56-8DAF5D8B611A}">
      <dsp:nvSpPr>
        <dsp:cNvPr id="0" name=""/>
        <dsp:cNvSpPr/>
      </dsp:nvSpPr>
      <dsp:spPr>
        <a:xfrm>
          <a:off x="832752" y="1131400"/>
          <a:ext cx="6191364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SG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Transition &amp; Transformation Plan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832752" y="1131400"/>
        <a:ext cx="6191364" cy="565926"/>
      </dsp:txXfrm>
    </dsp:sp>
    <dsp:sp modelId="{E963B212-DC64-41B5-9D12-964D9682514A}">
      <dsp:nvSpPr>
        <dsp:cNvPr id="0" name=""/>
        <dsp:cNvSpPr/>
      </dsp:nvSpPr>
      <dsp:spPr>
        <a:xfrm>
          <a:off x="479048" y="1060659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E52F00-BBFE-4A45-AAFE-BE259353943C}">
      <dsp:nvSpPr>
        <dsp:cNvPr id="0" name=""/>
        <dsp:cNvSpPr/>
      </dsp:nvSpPr>
      <dsp:spPr>
        <a:xfrm>
          <a:off x="957216" y="1980018"/>
          <a:ext cx="6066900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Solution Review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957216" y="1980018"/>
        <a:ext cx="6066900" cy="565926"/>
      </dsp:txXfrm>
    </dsp:sp>
    <dsp:sp modelId="{7C738C1C-C737-407C-BD98-4A2A76335A10}">
      <dsp:nvSpPr>
        <dsp:cNvPr id="0" name=""/>
        <dsp:cNvSpPr/>
      </dsp:nvSpPr>
      <dsp:spPr>
        <a:xfrm>
          <a:off x="603512" y="1909277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703577-6949-4DEA-86D2-7C1A5634D688}">
      <dsp:nvSpPr>
        <dsp:cNvPr id="0" name=""/>
        <dsp:cNvSpPr/>
      </dsp:nvSpPr>
      <dsp:spPr>
        <a:xfrm>
          <a:off x="832752" y="2828636"/>
          <a:ext cx="6191364" cy="565926"/>
        </a:xfrm>
        <a:prstGeom prst="rect">
          <a:avLst/>
        </a:prstGeom>
        <a:solidFill>
          <a:schemeClr val="bg2">
            <a:lumMod val="75000"/>
          </a:scheme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+mn-cs"/>
            </a:rPr>
            <a:t>Project Governance</a:t>
          </a:r>
          <a:endParaRPr lang="en-SG" sz="2900" kern="1200" dirty="0">
            <a:solidFill>
              <a:schemeClr val="bg1">
                <a:lumMod val="75000"/>
              </a:schemeClr>
            </a:solidFill>
            <a:latin typeface="Calibri"/>
            <a:ea typeface="+mn-ea"/>
            <a:cs typeface="+mn-cs"/>
          </a:endParaRPr>
        </a:p>
      </dsp:txBody>
      <dsp:txXfrm>
        <a:off x="832752" y="2828636"/>
        <a:ext cx="6191364" cy="565926"/>
      </dsp:txXfrm>
    </dsp:sp>
    <dsp:sp modelId="{CD070EC4-0545-48CF-9D05-A2D5EB82A552}">
      <dsp:nvSpPr>
        <dsp:cNvPr id="0" name=""/>
        <dsp:cNvSpPr/>
      </dsp:nvSpPr>
      <dsp:spPr>
        <a:xfrm>
          <a:off x="479048" y="2757895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29B301-0016-43D6-B2B9-9516B1112A98}">
      <dsp:nvSpPr>
        <dsp:cNvPr id="0" name=""/>
        <dsp:cNvSpPr/>
      </dsp:nvSpPr>
      <dsp:spPr>
        <a:xfrm>
          <a:off x="427226" y="3677254"/>
          <a:ext cx="6596890" cy="565926"/>
        </a:xfrm>
        <a:prstGeom prst="rect">
          <a:avLst/>
        </a:prstGeom>
        <a:solidFill>
          <a:srgbClr val="F79646"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9204" tIns="73660" rIns="73660" bIns="7366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Key Milestones &amp; Deliverables</a:t>
          </a:r>
          <a:endParaRPr lang="en-SG" sz="29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427226" y="3677254"/>
        <a:ext cx="6596890" cy="565926"/>
      </dsp:txXfrm>
    </dsp:sp>
    <dsp:sp modelId="{41A4B0ED-9887-44C5-8498-9E2FDDC9AA75}">
      <dsp:nvSpPr>
        <dsp:cNvPr id="0" name=""/>
        <dsp:cNvSpPr/>
      </dsp:nvSpPr>
      <dsp:spPr>
        <a:xfrm>
          <a:off x="73522" y="3606513"/>
          <a:ext cx="707408" cy="707408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0700" y="622300"/>
            <a:ext cx="5822950" cy="4368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76251" y="5333978"/>
            <a:ext cx="5911958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00657" y="9546303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88144" y="11074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327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212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2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2078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7096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6251" y="5333978"/>
            <a:ext cx="5911958" cy="2462213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SG" b="1" dirty="0"/>
              <a:t>Mobile Portal Page Compatibility </a:t>
            </a:r>
            <a:r>
              <a:rPr lang="en-SG"/>
              <a:t>= Page must be fully supported for all mobile platform devices</a:t>
            </a:r>
            <a:endParaRPr lang="en-SG" dirty="0"/>
          </a:p>
          <a:p>
            <a:pPr marL="342900" indent="-342900">
              <a:buAutoNum type="arabicPeriod"/>
            </a:pPr>
            <a:r>
              <a:rPr lang="en-SG" b="1" dirty="0"/>
              <a:t>Online help chat module </a:t>
            </a:r>
            <a:r>
              <a:rPr lang="en-SG"/>
              <a:t>= user can login to portal for on-the-fly assistance without the need of logging any cases, assist to reduce the amount of cases in servicenow eventually</a:t>
            </a:r>
            <a:endParaRPr lang="en-SG" dirty="0"/>
          </a:p>
          <a:p>
            <a:r>
              <a:rPr lang="en-SG" b="1" dirty="0"/>
              <a:t>Shopping Cart Bundling </a:t>
            </a:r>
            <a:r>
              <a:rPr lang="en-SG"/>
              <a:t>= bundling of services request (such as service request for a laptop that bundle with software like Microsoft project), once request is submitted, it will split into multiple service request for processing, however delivery to end user would be a single end-point rendering of services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193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277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lude HP-UX,</a:t>
            </a:r>
            <a:r>
              <a:rPr lang="en-US" baseline="0" dirty="0"/>
              <a:t> SAP, Oracle</a:t>
            </a:r>
          </a:p>
          <a:p>
            <a:r>
              <a:rPr lang="en-US" baseline="0" dirty="0"/>
              <a:t>How to differentiate between managed and non-managed</a:t>
            </a:r>
          </a:p>
          <a:p>
            <a:r>
              <a:rPr lang="en-US" baseline="0" dirty="0" err="1"/>
              <a:t>LiquidSky</a:t>
            </a:r>
            <a:r>
              <a:rPr lang="en-US" baseline="0" dirty="0"/>
              <a:t> = Cloud Spend/Usage Optimizer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852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149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2012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013938" y="2022781"/>
            <a:ext cx="2937559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888522" y="264254"/>
            <a:ext cx="4062975" cy="46166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000" b="1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643154" y="1745782"/>
            <a:ext cx="3308344" cy="553998"/>
          </a:xfrm>
        </p:spPr>
        <p:txBody>
          <a:bodyPr wrap="square">
            <a:spAutoFit/>
          </a:bodyPr>
          <a:lstStyle>
            <a:lvl1pPr algn="l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41671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9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BD1D7-36E3-4632-A7F3-DBD6215F536A}" type="datetime1">
              <a:rPr lang="en-SG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4/2016</a:t>
            </a:fld>
            <a:endParaRPr lang="en-SG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1"/>
          <p:cNvSpPr txBox="1">
            <a:spLocks/>
          </p:cNvSpPr>
          <p:nvPr userDrawn="1"/>
        </p:nvSpPr>
        <p:spPr>
          <a:xfrm>
            <a:off x="6759248" y="6548114"/>
            <a:ext cx="2133600" cy="365125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SG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SG" sz="675" dirty="0"/>
          </a:p>
        </p:txBody>
      </p:sp>
      <p:sp>
        <p:nvSpPr>
          <p:cNvPr id="5" name="Oval 4"/>
          <p:cNvSpPr/>
          <p:nvPr userDrawn="1"/>
        </p:nvSpPr>
        <p:spPr>
          <a:xfrm>
            <a:off x="7615644" y="6140282"/>
            <a:ext cx="1277204" cy="127397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bg1"/>
              </a:solidFill>
            </a:endParaRPr>
          </a:p>
          <a:p>
            <a:pPr algn="ctr"/>
            <a:r>
              <a:rPr lang="en-US" sz="1050" baseline="0" dirty="0">
                <a:solidFill>
                  <a:schemeClr val="bg1"/>
                </a:solidFill>
              </a:rPr>
              <a:t>Group Enterprise</a:t>
            </a:r>
          </a:p>
          <a:p>
            <a:pPr algn="ctr"/>
            <a:endParaRPr lang="en-US" sz="1050" dirty="0">
              <a:solidFill>
                <a:schemeClr val="bg1"/>
              </a:solidFill>
            </a:endParaRPr>
          </a:p>
          <a:p>
            <a:pPr algn="ctr"/>
            <a:endParaRPr lang="en-US" sz="1050" dirty="0">
              <a:solidFill>
                <a:schemeClr val="bg1"/>
              </a:solidFill>
            </a:endParaRPr>
          </a:p>
          <a:p>
            <a:pPr algn="ctr"/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7" name="Slide Number Placeholder 1"/>
          <p:cNvSpPr txBox="1">
            <a:spLocks/>
          </p:cNvSpPr>
          <p:nvPr userDrawn="1"/>
        </p:nvSpPr>
        <p:spPr>
          <a:xfrm>
            <a:off x="-1676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SG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8EB7BB1D-A732-4F76-8E50-A50D4C1B9203}" type="slidenum">
              <a:rPr lang="en-SG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SG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654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_Ar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Slide Number Placeholder 1"/>
          <p:cNvSpPr txBox="1">
            <a:spLocks/>
          </p:cNvSpPr>
          <p:nvPr userDrawn="1"/>
        </p:nvSpPr>
        <p:spPr>
          <a:xfrm>
            <a:off x="6759248" y="65481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SG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8EB7BB1D-A732-4F76-8E50-A50D4C1B9203}" type="slidenum">
              <a:rPr lang="en-SG" smtClean="0"/>
              <a:pPr>
                <a:defRPr/>
              </a:pPr>
              <a:t>‹#›</a:t>
            </a:fld>
            <a:endParaRPr lang="en-S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SG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965105"/>
            <a:ext cx="674603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b="1"/>
            </a:lvl1pPr>
          </a:lstStyle>
          <a:p>
            <a:pPr lvl="0"/>
            <a:r>
              <a:rPr lang="en-US"/>
              <a:t>Click to edit Master title style</a:t>
            </a:r>
            <a:endParaRPr lang="en-SG" dirty="0"/>
          </a:p>
        </p:txBody>
      </p:sp>
      <p:sp>
        <p:nvSpPr>
          <p:cNvPr id="10" name="Text Placeholder 2"/>
          <p:cNvSpPr>
            <a:spLocks noGrp="1"/>
          </p:cNvSpPr>
          <p:nvPr>
            <p:ph idx="1"/>
          </p:nvPr>
        </p:nvSpPr>
        <p:spPr bwMode="auto">
          <a:xfrm>
            <a:off x="475860" y="2295332"/>
            <a:ext cx="5010539" cy="2444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9" y="6151183"/>
            <a:ext cx="2869560" cy="35657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: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549639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8854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013938" y="2022781"/>
            <a:ext cx="2937559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888522" y="264254"/>
            <a:ext cx="4062975" cy="46166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000" b="1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643154" y="1745782"/>
            <a:ext cx="3308344" cy="553998"/>
          </a:xfrm>
        </p:spPr>
        <p:txBody>
          <a:bodyPr wrap="square">
            <a:spAutoFit/>
          </a:bodyPr>
          <a:lstStyle>
            <a:lvl1pPr algn="l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547191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348" y="372908"/>
            <a:ext cx="8686800" cy="457200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28411" y="6444734"/>
            <a:ext cx="1463675" cy="36576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68286" y="6444734"/>
            <a:ext cx="4876800" cy="36576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alt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1677943" y="1999161"/>
            <a:ext cx="565748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>
              <a:buFont typeface="Wingdings" panose="05000000000000000000" pitchFamily="2" charset="2"/>
              <a:buChar char="Ø"/>
              <a:defRPr sz="2000" b="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8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Ø"/>
              <a:defRPr sz="1800">
                <a:latin typeface="+mj-lt"/>
              </a:defRPr>
            </a:lvl3pPr>
            <a:lvl4pPr marL="626835" indent="-158733">
              <a:buFont typeface="Wingdings" panose="05000000000000000000" pitchFamily="2" charset="2"/>
              <a:buChar char="Ø"/>
              <a:defRPr sz="1800">
                <a:latin typeface="+mj-lt"/>
              </a:defRPr>
            </a:lvl4pPr>
            <a:lvl5pPr marL="765029" indent="-132818">
              <a:buFont typeface="Wingdings" panose="05000000000000000000" pitchFamily="2" charset="2"/>
              <a:buChar char="Ø"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105154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372907"/>
            <a:ext cx="8686800" cy="457200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446855" y="1799771"/>
            <a:ext cx="841246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6856" y="1594816"/>
            <a:ext cx="8208912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6912253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172517" y="966067"/>
            <a:ext cx="868680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762370843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16841"/>
            <a:ext cx="8686800" cy="369332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172517" y="966067"/>
            <a:ext cx="438912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  <p:sp>
        <p:nvSpPr>
          <p:cNvPr id="4" name="Text Placeholder 2"/>
          <p:cNvSpPr>
            <a:spLocks noGrp="1"/>
          </p:cNvSpPr>
          <p:nvPr>
            <p:ph idx="10"/>
          </p:nvPr>
        </p:nvSpPr>
        <p:spPr bwMode="auto">
          <a:xfrm>
            <a:off x="4542971" y="966067"/>
            <a:ext cx="438912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121702355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24582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377652"/>
            <a:ext cx="8686800" cy="457200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632070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6959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013938" y="2022781"/>
            <a:ext cx="2937559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888522" y="264254"/>
            <a:ext cx="4062975" cy="46166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000" b="1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643154" y="1745782"/>
            <a:ext cx="3308344" cy="553998"/>
          </a:xfrm>
        </p:spPr>
        <p:txBody>
          <a:bodyPr wrap="square">
            <a:spAutoFit/>
          </a:bodyPr>
          <a:lstStyle>
            <a:lvl1pPr algn="l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14356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348" y="372908"/>
            <a:ext cx="8686800" cy="457200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28411" y="6444734"/>
            <a:ext cx="1463675" cy="36576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68286" y="6444734"/>
            <a:ext cx="4876800" cy="36576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alt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1677943" y="1999161"/>
            <a:ext cx="565748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>
              <a:buFont typeface="Wingdings" panose="05000000000000000000" pitchFamily="2" charset="2"/>
              <a:buChar char="Ø"/>
              <a:defRPr sz="2000" b="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8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Ø"/>
              <a:defRPr sz="1800">
                <a:latin typeface="+mj-lt"/>
              </a:defRPr>
            </a:lvl3pPr>
            <a:lvl4pPr marL="626835" indent="-158733">
              <a:buFont typeface="Wingdings" panose="05000000000000000000" pitchFamily="2" charset="2"/>
              <a:buChar char="Ø"/>
              <a:defRPr sz="1800">
                <a:latin typeface="+mj-lt"/>
              </a:defRPr>
            </a:lvl4pPr>
            <a:lvl5pPr marL="765029" indent="-132818">
              <a:buFont typeface="Wingdings" panose="05000000000000000000" pitchFamily="2" charset="2"/>
              <a:buChar char="Ø"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8888966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348" y="372908"/>
            <a:ext cx="8686800" cy="457200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28411" y="6444734"/>
            <a:ext cx="1463675" cy="36576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68286" y="6444734"/>
            <a:ext cx="4876800" cy="36576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alt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1677943" y="1999161"/>
            <a:ext cx="565748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>
              <a:buFont typeface="Wingdings" panose="05000000000000000000" pitchFamily="2" charset="2"/>
              <a:buChar char="Ø"/>
              <a:defRPr sz="2000" b="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8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Ø"/>
              <a:defRPr sz="1800">
                <a:latin typeface="+mj-lt"/>
              </a:defRPr>
            </a:lvl3pPr>
            <a:lvl4pPr marL="626835" indent="-158733">
              <a:buFont typeface="Wingdings" panose="05000000000000000000" pitchFamily="2" charset="2"/>
              <a:buChar char="Ø"/>
              <a:defRPr sz="1800">
                <a:latin typeface="+mj-lt"/>
              </a:defRPr>
            </a:lvl4pPr>
            <a:lvl5pPr marL="765029" indent="-132818">
              <a:buFont typeface="Wingdings" panose="05000000000000000000" pitchFamily="2" charset="2"/>
              <a:buChar char="Ø"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2058119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372907"/>
            <a:ext cx="8686800" cy="457200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446855" y="1799771"/>
            <a:ext cx="841246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6856" y="1594816"/>
            <a:ext cx="8208912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4780583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172517" y="966067"/>
            <a:ext cx="868680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944708628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16841"/>
            <a:ext cx="8686800" cy="369332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172517" y="966067"/>
            <a:ext cx="438912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  <p:sp>
        <p:nvSpPr>
          <p:cNvPr id="4" name="Text Placeholder 2"/>
          <p:cNvSpPr>
            <a:spLocks noGrp="1"/>
          </p:cNvSpPr>
          <p:nvPr>
            <p:ph idx="10"/>
          </p:nvPr>
        </p:nvSpPr>
        <p:spPr bwMode="auto">
          <a:xfrm>
            <a:off x="4542971" y="966067"/>
            <a:ext cx="438912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67654812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67464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377652"/>
            <a:ext cx="8686800" cy="457200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893706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372907"/>
            <a:ext cx="8686800" cy="457200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446855" y="1799771"/>
            <a:ext cx="841246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6856" y="1594816"/>
            <a:ext cx="8208912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0161889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172517" y="966067"/>
            <a:ext cx="868680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4099464175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16841"/>
            <a:ext cx="8686800" cy="369332"/>
          </a:xfrm>
        </p:spPr>
        <p:txBody>
          <a:bodyPr anchor="ctr"/>
          <a:lstStyle>
            <a:lvl1pPr>
              <a:defRPr sz="2400" b="1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172517" y="966067"/>
            <a:ext cx="438912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  <p:sp>
        <p:nvSpPr>
          <p:cNvPr id="4" name="Text Placeholder 2"/>
          <p:cNvSpPr>
            <a:spLocks noGrp="1"/>
          </p:cNvSpPr>
          <p:nvPr>
            <p:ph idx="10"/>
          </p:nvPr>
        </p:nvSpPr>
        <p:spPr bwMode="auto">
          <a:xfrm>
            <a:off x="4542971" y="966067"/>
            <a:ext cx="438912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latin typeface="+mj-lt"/>
              </a:defRPr>
            </a:lvl1pPr>
            <a:lvl2pPr marL="197607" indent="-195987">
              <a:buFont typeface="Wingdings" panose="05000000000000000000" pitchFamily="2" charset="2"/>
              <a:buChar char="Ø"/>
              <a:defRPr sz="1600">
                <a:latin typeface="+mj-lt"/>
              </a:defRPr>
            </a:lvl2pPr>
            <a:lvl3pPr marL="466481" indent="-267255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577465900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1422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2460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4DEF93-ADD1-4629-8A38-C2F296FE4615}" type="datetime1">
              <a:rPr lang="en-SG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4/2016</a:t>
            </a:fld>
            <a:endParaRPr lang="en-SG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1"/>
          <p:cNvSpPr txBox="1">
            <a:spLocks/>
          </p:cNvSpPr>
          <p:nvPr userDrawn="1"/>
        </p:nvSpPr>
        <p:spPr>
          <a:xfrm>
            <a:off x="6759248" y="6548108"/>
            <a:ext cx="21336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SG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8EB7BB1D-A732-4F76-8E50-A50D4C1B9203}" type="slidenum">
              <a:rPr lang="en-SG" sz="900" smtClean="0"/>
              <a:pPr>
                <a:defRPr/>
              </a:pPr>
              <a:t>‹#›</a:t>
            </a:fld>
            <a:endParaRPr lang="en-SG" sz="900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918"/>
          <a:stretch/>
        </p:blipFill>
        <p:spPr bwMode="auto">
          <a:xfrm>
            <a:off x="7935233" y="6269683"/>
            <a:ext cx="1108841" cy="440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618259"/>
            <a:ext cx="8229600" cy="507831"/>
          </a:xfrm>
        </p:spPr>
        <p:txBody>
          <a:bodyPr/>
          <a:lstStyle>
            <a:lvl1pPr algn="l">
              <a:defRPr lang="en-SG" sz="3300" b="1" spc="-38" smtClean="0">
                <a:solidFill>
                  <a:srgbClr val="D50000"/>
                </a:solidFill>
              </a:defRPr>
            </a:lvl1pPr>
          </a:lstStyle>
          <a:p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745442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2460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4DEF93-ADD1-4629-8A38-C2F296FE4615}" type="datetime1">
              <a:rPr lang="en-SG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4/2016</a:t>
            </a:fld>
            <a:endParaRPr lang="en-SG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1"/>
          <p:cNvSpPr txBox="1">
            <a:spLocks/>
          </p:cNvSpPr>
          <p:nvPr userDrawn="1"/>
        </p:nvSpPr>
        <p:spPr>
          <a:xfrm>
            <a:off x="6759248" y="6548108"/>
            <a:ext cx="21336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SG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8EB7BB1D-A732-4F76-8E50-A50D4C1B9203}" type="slidenum">
              <a:rPr lang="en-SG" sz="900" smtClean="0"/>
              <a:pPr>
                <a:defRPr/>
              </a:pPr>
              <a:t>‹#›</a:t>
            </a:fld>
            <a:endParaRPr lang="en-SG" sz="900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918"/>
          <a:stretch/>
        </p:blipFill>
        <p:spPr bwMode="auto">
          <a:xfrm>
            <a:off x="7935233" y="6269683"/>
            <a:ext cx="1108841" cy="440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618259"/>
            <a:ext cx="8229600" cy="507831"/>
          </a:xfrm>
        </p:spPr>
        <p:txBody>
          <a:bodyPr/>
          <a:lstStyle>
            <a:lvl1pPr algn="l">
              <a:defRPr lang="en-SG" sz="3300" b="1" spc="-38" smtClean="0">
                <a:solidFill>
                  <a:srgbClr val="D50000"/>
                </a:solidFill>
              </a:defRPr>
            </a:lvl1pPr>
          </a:lstStyle>
          <a:p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13104944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9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BD1D7-36E3-4632-A7F3-DBD6215F536A}" type="datetime1">
              <a:rPr lang="en-SG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4/2016</a:t>
            </a:fld>
            <a:endParaRPr lang="en-SG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1"/>
          <p:cNvSpPr txBox="1">
            <a:spLocks/>
          </p:cNvSpPr>
          <p:nvPr userDrawn="1"/>
        </p:nvSpPr>
        <p:spPr>
          <a:xfrm>
            <a:off x="6759248" y="6548114"/>
            <a:ext cx="2133600" cy="365125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SG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SG" sz="675" dirty="0"/>
          </a:p>
        </p:txBody>
      </p:sp>
      <p:sp>
        <p:nvSpPr>
          <p:cNvPr id="5" name="Oval 4"/>
          <p:cNvSpPr/>
          <p:nvPr userDrawn="1"/>
        </p:nvSpPr>
        <p:spPr>
          <a:xfrm>
            <a:off x="7615644" y="6140282"/>
            <a:ext cx="1277204" cy="127397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 smtClean="0">
              <a:solidFill>
                <a:schemeClr val="bg1"/>
              </a:solidFill>
            </a:endParaRPr>
          </a:p>
          <a:p>
            <a:pPr algn="ctr"/>
            <a:r>
              <a:rPr lang="en-US" sz="1050" baseline="0" dirty="0" smtClean="0">
                <a:solidFill>
                  <a:schemeClr val="bg1"/>
                </a:solidFill>
              </a:rPr>
              <a:t>Group Enterprise</a:t>
            </a:r>
          </a:p>
          <a:p>
            <a:pPr algn="ctr"/>
            <a:endParaRPr lang="en-US" sz="1050" dirty="0" smtClean="0">
              <a:solidFill>
                <a:schemeClr val="bg1"/>
              </a:solidFill>
            </a:endParaRPr>
          </a:p>
          <a:p>
            <a:pPr algn="ctr"/>
            <a:endParaRPr lang="en-US" sz="1050" dirty="0" smtClean="0">
              <a:solidFill>
                <a:schemeClr val="bg1"/>
              </a:solidFill>
            </a:endParaRPr>
          </a:p>
          <a:p>
            <a:pPr algn="ctr"/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7" name="Slide Number Placeholder 1"/>
          <p:cNvSpPr txBox="1">
            <a:spLocks/>
          </p:cNvSpPr>
          <p:nvPr userDrawn="1"/>
        </p:nvSpPr>
        <p:spPr>
          <a:xfrm>
            <a:off x="-1676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SG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8EB7BB1D-A732-4F76-8E50-A50D4C1B9203}" type="slidenum">
              <a:rPr lang="en-SG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SG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086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33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3.v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53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oleObject" Target="../embeddings/oleObject5.bin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tags" Target="../tags/tag60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22.xml"/><Relationship Id="rId9" Type="http://schemas.openxmlformats.org/officeDocument/2006/relationships/vmlDrawing" Target="../drawings/vmlDrawing5.v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8017518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39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3112202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2517" y="477411"/>
            <a:ext cx="879411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2517" y="8295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2517" y="90840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53071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139542" y="965336"/>
            <a:ext cx="827088" cy="996951"/>
            <a:chOff x="4936" y="176"/>
            <a:chExt cx="521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831567" y="965336"/>
            <a:ext cx="1135063" cy="730251"/>
            <a:chOff x="4750" y="176"/>
            <a:chExt cx="715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7978732" y="965336"/>
            <a:ext cx="987898" cy="212366"/>
            <a:chOff x="7752877" y="285750"/>
            <a:chExt cx="987898" cy="212366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752877" y="285750"/>
              <a:ext cx="98789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75287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752877" y="498116"/>
              <a:ext cx="98789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McK Slide Elements" hidden="1"/>
          <p:cNvGrpSpPr/>
          <p:nvPr/>
        </p:nvGrpSpPr>
        <p:grpSpPr bwMode="auto">
          <a:xfrm>
            <a:off x="172518" y="6448771"/>
            <a:ext cx="7854676" cy="358820"/>
            <a:chOff x="172518" y="5794119"/>
            <a:chExt cx="7854676" cy="358820"/>
          </a:xfrm>
        </p:grpSpPr>
        <p:sp>
          <p:nvSpPr>
            <p:cNvPr id="64" name="McK 4. Footnote"/>
            <p:cNvSpPr txBox="1">
              <a:spLocks noChangeArrowheads="1"/>
            </p:cNvSpPr>
            <p:nvPr/>
          </p:nvSpPr>
          <p:spPr bwMode="auto">
            <a:xfrm>
              <a:off x="172519" y="5794119"/>
              <a:ext cx="785467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McK 5. Source"/>
            <p:cNvSpPr>
              <a:spLocks noChangeArrowheads="1"/>
            </p:cNvSpPr>
            <p:nvPr/>
          </p:nvSpPr>
          <p:spPr bwMode="auto">
            <a:xfrm>
              <a:off x="172518" y="5999051"/>
              <a:ext cx="785467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5300" indent="-495300" defTabSz="895350">
                <a:tabLst>
                  <a:tab pos="495300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/>
        </p:nvSpPr>
        <p:spPr bwMode="auto">
          <a:xfrm>
            <a:off x="8809536" y="665370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  <p:grpSp>
        <p:nvGrpSpPr>
          <p:cNvPr id="63" name="McK Moon" hidden="1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auto">
          <a:xfrm>
            <a:off x="7336100" y="1491594"/>
            <a:ext cx="254000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0" name="LegendMoons" hidden="1"/>
          <p:cNvGrpSpPr/>
          <p:nvPr/>
        </p:nvGrpSpPr>
        <p:grpSpPr bwMode="auto">
          <a:xfrm>
            <a:off x="8072080" y="965336"/>
            <a:ext cx="894550" cy="1306516"/>
            <a:chOff x="5428012" y="273840"/>
            <a:chExt cx="894550" cy="1306516"/>
          </a:xfrm>
        </p:grpSpPr>
        <p:sp>
          <p:nvSpPr>
            <p:cNvPr id="61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2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2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8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3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0" name="MoonLegend4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1" name="MoonLegend5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cxnSp>
        <p:nvCxnSpPr>
          <p:cNvPr id="74" name="Straight Connector 73"/>
          <p:cNvCxnSpPr>
            <a:cxnSpLocks/>
          </p:cNvCxnSpPr>
          <p:nvPr/>
        </p:nvCxnSpPr>
        <p:spPr bwMode="ltGray">
          <a:xfrm>
            <a:off x="174944" y="862187"/>
            <a:ext cx="8794113" cy="0"/>
          </a:xfrm>
          <a:prstGeom prst="line">
            <a:avLst/>
          </a:prstGeom>
          <a:noFill/>
          <a:ln w="38100" cap="flat" cmpd="sng" algn="ctr">
            <a:solidFill>
              <a:srgbClr val="ED1A3D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75" name="Picture 2" descr="singtel-new-logo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412" y="6197887"/>
            <a:ext cx="867434" cy="455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1085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911" r:id="rId2"/>
    <p:sldLayoutId id="2147483910" r:id="rId3"/>
    <p:sldLayoutId id="2147483912" r:id="rId4"/>
    <p:sldLayoutId id="2147483913" r:id="rId5"/>
    <p:sldLayoutId id="2147483914" r:id="rId6"/>
    <p:sldLayoutId id="2147483931" r:id="rId7"/>
    <p:sldLayoutId id="2147483932" r:id="rId8"/>
    <p:sldLayoutId id="2147483933" r:id="rId9"/>
    <p:sldLayoutId id="2147483935" r:id="rId10"/>
    <p:sldLayoutId id="2147483936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3001313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5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3112202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2517" y="477411"/>
            <a:ext cx="879411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2517" y="8295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2517" y="90840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53071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139542" y="965336"/>
            <a:ext cx="827088" cy="996951"/>
            <a:chOff x="4936" y="176"/>
            <a:chExt cx="521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831567" y="965336"/>
            <a:ext cx="1135063" cy="730251"/>
            <a:chOff x="4750" y="176"/>
            <a:chExt cx="715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7978732" y="965336"/>
            <a:ext cx="987898" cy="212366"/>
            <a:chOff x="7752877" y="285750"/>
            <a:chExt cx="987898" cy="212366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752877" y="285750"/>
              <a:ext cx="98789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75287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752877" y="498116"/>
              <a:ext cx="98789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McK Slide Elements" hidden="1"/>
          <p:cNvGrpSpPr/>
          <p:nvPr/>
        </p:nvGrpSpPr>
        <p:grpSpPr bwMode="auto">
          <a:xfrm>
            <a:off x="172518" y="6448771"/>
            <a:ext cx="7854676" cy="358820"/>
            <a:chOff x="172518" y="5794119"/>
            <a:chExt cx="7854676" cy="358820"/>
          </a:xfrm>
        </p:grpSpPr>
        <p:sp>
          <p:nvSpPr>
            <p:cNvPr id="64" name="McK 4. Footnote"/>
            <p:cNvSpPr txBox="1">
              <a:spLocks noChangeArrowheads="1"/>
            </p:cNvSpPr>
            <p:nvPr/>
          </p:nvSpPr>
          <p:spPr bwMode="auto">
            <a:xfrm>
              <a:off x="172519" y="5794119"/>
              <a:ext cx="785467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McK 5. Source"/>
            <p:cNvSpPr>
              <a:spLocks noChangeArrowheads="1"/>
            </p:cNvSpPr>
            <p:nvPr/>
          </p:nvSpPr>
          <p:spPr bwMode="auto">
            <a:xfrm>
              <a:off x="172518" y="5999051"/>
              <a:ext cx="785467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5300" indent="-495300" defTabSz="895350">
                <a:tabLst>
                  <a:tab pos="495300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/>
        </p:nvSpPr>
        <p:spPr bwMode="auto">
          <a:xfrm>
            <a:off x="8809536" y="665370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  <p:grpSp>
        <p:nvGrpSpPr>
          <p:cNvPr id="63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7336100" y="1491594"/>
            <a:ext cx="254000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0" name="LegendMoons" hidden="1"/>
          <p:cNvGrpSpPr/>
          <p:nvPr/>
        </p:nvGrpSpPr>
        <p:grpSpPr bwMode="auto">
          <a:xfrm>
            <a:off x="8072080" y="965336"/>
            <a:ext cx="894550" cy="1306516"/>
            <a:chOff x="5428012" y="273840"/>
            <a:chExt cx="894550" cy="1306516"/>
          </a:xfrm>
        </p:grpSpPr>
        <p:sp>
          <p:nvSpPr>
            <p:cNvPr id="61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2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2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3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0" name="MoonLegend4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1" name="MoonLegend5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cxnSp>
        <p:nvCxnSpPr>
          <p:cNvPr id="74" name="Straight Connector 73"/>
          <p:cNvCxnSpPr>
            <a:cxnSpLocks/>
          </p:cNvCxnSpPr>
          <p:nvPr/>
        </p:nvCxnSpPr>
        <p:spPr bwMode="ltGray">
          <a:xfrm>
            <a:off x="174944" y="862187"/>
            <a:ext cx="8794113" cy="0"/>
          </a:xfrm>
          <a:prstGeom prst="line">
            <a:avLst/>
          </a:prstGeom>
          <a:noFill/>
          <a:ln w="38100" cap="flat" cmpd="sng" algn="ctr">
            <a:solidFill>
              <a:srgbClr val="ED1A3D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75" name="Picture 2" descr="singtel-new-logo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412" y="6197887"/>
            <a:ext cx="867434" cy="455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4231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7138330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23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3112202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2517" y="477411"/>
            <a:ext cx="879411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2517" y="8295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2517" y="90840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53071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139542" y="965336"/>
            <a:ext cx="827088" cy="996951"/>
            <a:chOff x="4936" y="176"/>
            <a:chExt cx="521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831567" y="965336"/>
            <a:ext cx="1135063" cy="730251"/>
            <a:chOff x="4750" y="176"/>
            <a:chExt cx="715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7978732" y="965336"/>
            <a:ext cx="987898" cy="212366"/>
            <a:chOff x="7752877" y="285750"/>
            <a:chExt cx="987898" cy="212366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752877" y="285750"/>
              <a:ext cx="98789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75287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752877" y="498116"/>
              <a:ext cx="98789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McK Slide Elements" hidden="1"/>
          <p:cNvGrpSpPr/>
          <p:nvPr/>
        </p:nvGrpSpPr>
        <p:grpSpPr bwMode="auto">
          <a:xfrm>
            <a:off x="172518" y="6448771"/>
            <a:ext cx="7854676" cy="358820"/>
            <a:chOff x="172518" y="5794119"/>
            <a:chExt cx="7854676" cy="358820"/>
          </a:xfrm>
        </p:grpSpPr>
        <p:sp>
          <p:nvSpPr>
            <p:cNvPr id="64" name="McK 4. Footnote"/>
            <p:cNvSpPr txBox="1">
              <a:spLocks noChangeArrowheads="1"/>
            </p:cNvSpPr>
            <p:nvPr/>
          </p:nvSpPr>
          <p:spPr bwMode="auto">
            <a:xfrm>
              <a:off x="172519" y="5794119"/>
              <a:ext cx="785467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McK 5. Source"/>
            <p:cNvSpPr>
              <a:spLocks noChangeArrowheads="1"/>
            </p:cNvSpPr>
            <p:nvPr/>
          </p:nvSpPr>
          <p:spPr bwMode="auto">
            <a:xfrm>
              <a:off x="172518" y="5999051"/>
              <a:ext cx="785467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5300" indent="-495300" defTabSz="895350">
                <a:tabLst>
                  <a:tab pos="495300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/>
        </p:nvSpPr>
        <p:spPr bwMode="auto">
          <a:xfrm>
            <a:off x="8809536" y="665370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  <p:grpSp>
        <p:nvGrpSpPr>
          <p:cNvPr id="63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7336100" y="1491594"/>
            <a:ext cx="254000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0" name="LegendMoons" hidden="1"/>
          <p:cNvGrpSpPr/>
          <p:nvPr/>
        </p:nvGrpSpPr>
        <p:grpSpPr bwMode="auto">
          <a:xfrm>
            <a:off x="8072080" y="965336"/>
            <a:ext cx="894550" cy="1306516"/>
            <a:chOff x="5428012" y="273840"/>
            <a:chExt cx="894550" cy="1306516"/>
          </a:xfrm>
        </p:grpSpPr>
        <p:sp>
          <p:nvSpPr>
            <p:cNvPr id="61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7387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2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2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3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0" name="MoonLegend4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1" name="MoonLegend5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cxnSp>
        <p:nvCxnSpPr>
          <p:cNvPr id="74" name="Straight Connector 73"/>
          <p:cNvCxnSpPr>
            <a:cxnSpLocks/>
          </p:cNvCxnSpPr>
          <p:nvPr/>
        </p:nvCxnSpPr>
        <p:spPr bwMode="ltGray">
          <a:xfrm>
            <a:off x="174944" y="862187"/>
            <a:ext cx="8794113" cy="0"/>
          </a:xfrm>
          <a:prstGeom prst="line">
            <a:avLst/>
          </a:prstGeom>
          <a:noFill/>
          <a:ln w="38100" cap="flat" cmpd="sng" algn="ctr">
            <a:solidFill>
              <a:srgbClr val="ED1A3D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75" name="Picture 2" descr="singtel-new-logo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412" y="6197887"/>
            <a:ext cx="867434" cy="455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4982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13" Type="http://schemas.openxmlformats.org/officeDocument/2006/relationships/image" Target="../media/image29.emf"/><Relationship Id="rId18" Type="http://schemas.openxmlformats.org/officeDocument/2006/relationships/image" Target="../media/image34.emf"/><Relationship Id="rId3" Type="http://schemas.openxmlformats.org/officeDocument/2006/relationships/image" Target="../media/image19.emf"/><Relationship Id="rId7" Type="http://schemas.openxmlformats.org/officeDocument/2006/relationships/image" Target="../media/image23.emf"/><Relationship Id="rId12" Type="http://schemas.openxmlformats.org/officeDocument/2006/relationships/image" Target="../media/image28.emf"/><Relationship Id="rId17" Type="http://schemas.openxmlformats.org/officeDocument/2006/relationships/image" Target="../media/image33.emf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2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emf"/><Relationship Id="rId11" Type="http://schemas.openxmlformats.org/officeDocument/2006/relationships/image" Target="../media/image27.emf"/><Relationship Id="rId5" Type="http://schemas.openxmlformats.org/officeDocument/2006/relationships/image" Target="../media/image21.emf"/><Relationship Id="rId15" Type="http://schemas.openxmlformats.org/officeDocument/2006/relationships/image" Target="../media/image31.emf"/><Relationship Id="rId10" Type="http://schemas.openxmlformats.org/officeDocument/2006/relationships/image" Target="../media/image26.emf"/><Relationship Id="rId19" Type="http://schemas.openxmlformats.org/officeDocument/2006/relationships/image" Target="../media/image35.emf"/><Relationship Id="rId4" Type="http://schemas.openxmlformats.org/officeDocument/2006/relationships/image" Target="../media/image20.emf"/><Relationship Id="rId9" Type="http://schemas.openxmlformats.org/officeDocument/2006/relationships/image" Target="../media/image25.emf"/><Relationship Id="rId14" Type="http://schemas.openxmlformats.org/officeDocument/2006/relationships/image" Target="../media/image30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png"/><Relationship Id="rId12" Type="http://schemas.openxmlformats.org/officeDocument/2006/relationships/image" Target="../media/image15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11" Type="http://schemas.openxmlformats.org/officeDocument/2006/relationships/image" Target="../media/image14.jpe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8.jpeg"/><Relationship Id="rId10" Type="http://schemas.openxmlformats.org/officeDocument/2006/relationships/image" Target="../media/image13.jp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.jpe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07430" y="264254"/>
            <a:ext cx="3944068" cy="1384995"/>
          </a:xfrm>
        </p:spPr>
        <p:txBody>
          <a:bodyPr/>
          <a:lstStyle/>
          <a:p>
            <a:r>
              <a:rPr lang="en-US" dirty="0"/>
              <a:t>CapitaLand IT Outsourcing Manage Services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6125028" y="1934468"/>
            <a:ext cx="2714171" cy="553998"/>
          </a:xfrm>
        </p:spPr>
        <p:txBody>
          <a:bodyPr/>
          <a:lstStyle/>
          <a:p>
            <a:pPr algn="r"/>
            <a:r>
              <a:rPr lang="en-US" b="1" dirty="0"/>
              <a:t>Kick Off Meeting</a:t>
            </a:r>
          </a:p>
          <a:p>
            <a:pPr algn="r"/>
            <a:r>
              <a:rPr lang="en-US" dirty="0"/>
              <a:t>27 April 2016</a:t>
            </a:r>
          </a:p>
        </p:txBody>
      </p:sp>
    </p:spTree>
    <p:extLst>
      <p:ext uri="{BB962C8B-B14F-4D97-AF65-F5344CB8AC3E}">
        <p14:creationId xmlns:p14="http://schemas.microsoft.com/office/powerpoint/2010/main" val="575870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Transformation Timeline - </a:t>
            </a:r>
            <a:r>
              <a:rPr lang="en-US" sz="2000" dirty="0" smtClean="0"/>
              <a:t>System and App Monitoring</a:t>
            </a:r>
            <a:endParaRPr lang="en-US" dirty="0"/>
          </a:p>
        </p:txBody>
      </p:sp>
      <p:graphicFrame>
        <p:nvGraphicFramePr>
          <p:cNvPr id="6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50687598"/>
              </p:ext>
            </p:extLst>
          </p:nvPr>
        </p:nvGraphicFramePr>
        <p:xfrm>
          <a:off x="-38503" y="1218968"/>
          <a:ext cx="9432185" cy="49377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10552">
                  <a:extLst>
                    <a:ext uri="{9D8B030D-6E8A-4147-A177-3AD203B41FA5}">
                      <a16:colId xmlns="" xmlns:a16="http://schemas.microsoft.com/office/drawing/2014/main" val="3849059906"/>
                    </a:ext>
                  </a:extLst>
                </a:gridCol>
                <a:gridCol w="353905">
                  <a:extLst>
                    <a:ext uri="{9D8B030D-6E8A-4147-A177-3AD203B41FA5}">
                      <a16:colId xmlns="" xmlns:a16="http://schemas.microsoft.com/office/drawing/2014/main" val="3826514067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2550091978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3403654835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1072737192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2559309268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915526007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2273400354"/>
                    </a:ext>
                  </a:extLst>
                </a:gridCol>
                <a:gridCol w="822960">
                  <a:extLst>
                    <a:ext uri="{9D8B030D-6E8A-4147-A177-3AD203B41FA5}">
                      <a16:colId xmlns="" xmlns:a16="http://schemas.microsoft.com/office/drawing/2014/main" val="314883556"/>
                    </a:ext>
                  </a:extLst>
                </a:gridCol>
              </a:tblGrid>
              <a:tr h="399130">
                <a:tc>
                  <a:txBody>
                    <a:bodyPr/>
                    <a:lstStyle/>
                    <a:p>
                      <a:pPr algn="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35597567"/>
                  </a:ext>
                </a:extLst>
              </a:tr>
              <a:tr h="606072">
                <a:tc>
                  <a:txBody>
                    <a:bodyPr/>
                    <a:lstStyle/>
                    <a:p>
                      <a:r>
                        <a:rPr lang="en-US" sz="1200" b="1" dirty="0"/>
                        <a:t>1. Platform Baseline Monitoring</a:t>
                      </a:r>
                      <a:r>
                        <a:rPr lang="en-US" sz="1200" b="1" baseline="0" dirty="0"/>
                        <a:t> </a:t>
                      </a:r>
                      <a:endParaRPr lang="en-US" sz="1200" b="1" dirty="0"/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2924557503"/>
                  </a:ext>
                </a:extLst>
              </a:tr>
              <a:tr h="68018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2. Application Baseline Monitoring</a:t>
                      </a:r>
                      <a:endParaRPr lang="en-US" sz="1200" b="1" baseline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3681266895"/>
                  </a:ext>
                </a:extLst>
              </a:tr>
              <a:tr h="698480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3.</a:t>
                      </a:r>
                      <a:r>
                        <a:rPr lang="en-US" sz="1200" b="1" baseline="0" dirty="0"/>
                        <a:t> Automated ITSM Ticketing System from Monitoring Events.</a:t>
                      </a:r>
                      <a:endParaRPr lang="en-US" sz="12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58020">
                <a:tc>
                  <a:txBody>
                    <a:bodyPr/>
                    <a:lstStyle/>
                    <a:p>
                      <a:r>
                        <a:rPr lang="en-US" sz="1200" b="1" dirty="0"/>
                        <a:t>4. Monitoring Dashboard</a:t>
                      </a:r>
                      <a:r>
                        <a:rPr lang="en-US" sz="1200" b="1" baseline="0" dirty="0"/>
                        <a:t> with SLA</a:t>
                      </a:r>
                      <a:endParaRPr lang="en-US" sz="12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2917913074"/>
                  </a:ext>
                </a:extLst>
              </a:tr>
              <a:tr h="1895870">
                <a:tc>
                  <a:txBody>
                    <a:bodyPr/>
                    <a:lstStyle/>
                    <a:p>
                      <a:r>
                        <a:rPr lang="en-US" sz="1200" b="1" dirty="0"/>
                        <a:t>5.</a:t>
                      </a:r>
                      <a:r>
                        <a:rPr lang="en-US" sz="1200" b="1" baseline="0" dirty="0"/>
                        <a:t> Platform Performance Monitoring</a:t>
                      </a:r>
                    </a:p>
                    <a:p>
                      <a:endParaRPr lang="en-US" sz="1200" b="1" baseline="0" dirty="0"/>
                    </a:p>
                    <a:p>
                      <a:r>
                        <a:rPr lang="en-US" sz="1200" b="1" baseline="0" dirty="0"/>
                        <a:t>6. Application Performance Monitoring</a:t>
                      </a:r>
                    </a:p>
                    <a:p>
                      <a:endParaRPr lang="en-US" sz="1200" b="1" baseline="0" dirty="0"/>
                    </a:p>
                    <a:p>
                      <a:r>
                        <a:rPr lang="en-US" sz="1200" b="1" baseline="0" dirty="0"/>
                        <a:t>7. Monitoring </a:t>
                      </a:r>
                      <a:r>
                        <a:rPr lang="en-US" sz="1200" b="1" baseline="0" dirty="0" err="1"/>
                        <a:t>Finetune</a:t>
                      </a:r>
                      <a:endParaRPr lang="en-US" sz="1200" b="1" baseline="0" dirty="0"/>
                    </a:p>
                    <a:p>
                      <a:endParaRPr lang="en-US" sz="1200" b="1" baseline="0" dirty="0"/>
                    </a:p>
                    <a:p>
                      <a:r>
                        <a:rPr lang="en-US" sz="1200" b="1" baseline="0" dirty="0"/>
                        <a:t>8. Enhanced Report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868011929"/>
                  </a:ext>
                </a:extLst>
              </a:tr>
            </a:tbl>
          </a:graphicData>
        </a:graphic>
      </p:graphicFrame>
      <p:sp>
        <p:nvSpPr>
          <p:cNvPr id="7" name="TextBox 3"/>
          <p:cNvSpPr txBox="1"/>
          <p:nvPr/>
        </p:nvSpPr>
        <p:spPr>
          <a:xfrm>
            <a:off x="2195493" y="1312712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Sept</a:t>
            </a:r>
          </a:p>
        </p:txBody>
      </p:sp>
      <p:sp>
        <p:nvSpPr>
          <p:cNvPr id="8" name="TextBox 4"/>
          <p:cNvSpPr txBox="1"/>
          <p:nvPr/>
        </p:nvSpPr>
        <p:spPr>
          <a:xfrm>
            <a:off x="3111416" y="1317519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Oct</a:t>
            </a:r>
          </a:p>
        </p:txBody>
      </p:sp>
      <p:sp>
        <p:nvSpPr>
          <p:cNvPr id="9" name="TextBox 14"/>
          <p:cNvSpPr txBox="1"/>
          <p:nvPr/>
        </p:nvSpPr>
        <p:spPr>
          <a:xfrm>
            <a:off x="4148575" y="1312712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</a:p>
        </p:txBody>
      </p:sp>
      <p:sp>
        <p:nvSpPr>
          <p:cNvPr id="10" name="TextBox 15"/>
          <p:cNvSpPr txBox="1"/>
          <p:nvPr/>
        </p:nvSpPr>
        <p:spPr>
          <a:xfrm>
            <a:off x="5190193" y="1316761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</a:p>
        </p:txBody>
      </p:sp>
      <p:sp>
        <p:nvSpPr>
          <p:cNvPr id="11" name="TextBox 16"/>
          <p:cNvSpPr txBox="1"/>
          <p:nvPr/>
        </p:nvSpPr>
        <p:spPr>
          <a:xfrm>
            <a:off x="6138302" y="1315808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</a:p>
        </p:txBody>
      </p:sp>
      <p:sp>
        <p:nvSpPr>
          <p:cNvPr id="12" name="TextBox 17"/>
          <p:cNvSpPr txBox="1"/>
          <p:nvPr/>
        </p:nvSpPr>
        <p:spPr>
          <a:xfrm>
            <a:off x="7170966" y="1306193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Feb</a:t>
            </a:r>
          </a:p>
        </p:txBody>
      </p:sp>
      <p:sp>
        <p:nvSpPr>
          <p:cNvPr id="13" name="TextBox 18"/>
          <p:cNvSpPr txBox="1"/>
          <p:nvPr/>
        </p:nvSpPr>
        <p:spPr>
          <a:xfrm>
            <a:off x="8119112" y="1306196"/>
            <a:ext cx="970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</a:p>
        </p:txBody>
      </p:sp>
      <p:grpSp>
        <p:nvGrpSpPr>
          <p:cNvPr id="14" name="Group 20"/>
          <p:cNvGrpSpPr/>
          <p:nvPr/>
        </p:nvGrpSpPr>
        <p:grpSpPr>
          <a:xfrm>
            <a:off x="1828489" y="2333662"/>
            <a:ext cx="3671161" cy="251092"/>
            <a:chOff x="2369528" y="2220988"/>
            <a:chExt cx="3059281" cy="223322"/>
          </a:xfrm>
        </p:grpSpPr>
        <p:sp>
          <p:nvSpPr>
            <p:cNvPr id="15" name="Rectangle 21"/>
            <p:cNvSpPr/>
            <p:nvPr/>
          </p:nvSpPr>
          <p:spPr>
            <a:xfrm>
              <a:off x="2881314" y="2225707"/>
              <a:ext cx="1703360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22"/>
            <p:cNvSpPr txBox="1"/>
            <p:nvPr/>
          </p:nvSpPr>
          <p:spPr>
            <a:xfrm>
              <a:off x="2369528" y="2225321"/>
              <a:ext cx="788714" cy="2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t</a:t>
              </a:r>
            </a:p>
          </p:txBody>
        </p:sp>
        <p:sp>
          <p:nvSpPr>
            <p:cNvPr id="17" name="Isosceles Triangle 23"/>
            <p:cNvSpPr/>
            <p:nvPr/>
          </p:nvSpPr>
          <p:spPr>
            <a:xfrm>
              <a:off x="2805762" y="2251310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Isosceles Triangle 24"/>
            <p:cNvSpPr/>
            <p:nvPr/>
          </p:nvSpPr>
          <p:spPr>
            <a:xfrm>
              <a:off x="4506455" y="2254471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TextBox 26"/>
            <p:cNvSpPr txBox="1"/>
            <p:nvPr/>
          </p:nvSpPr>
          <p:spPr>
            <a:xfrm>
              <a:off x="4586134" y="2220988"/>
              <a:ext cx="842675" cy="2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Nov</a:t>
              </a:r>
            </a:p>
          </p:txBody>
        </p:sp>
      </p:grpSp>
      <p:grpSp>
        <p:nvGrpSpPr>
          <p:cNvPr id="20" name="Group 27"/>
          <p:cNvGrpSpPr/>
          <p:nvPr/>
        </p:nvGrpSpPr>
        <p:grpSpPr>
          <a:xfrm>
            <a:off x="2825199" y="3485778"/>
            <a:ext cx="2485849" cy="259828"/>
            <a:chOff x="2267937" y="2192615"/>
            <a:chExt cx="2426632" cy="259828"/>
          </a:xfrm>
        </p:grpSpPr>
        <p:sp>
          <p:nvSpPr>
            <p:cNvPr id="21" name="Rectangle 28"/>
            <p:cNvSpPr/>
            <p:nvPr/>
          </p:nvSpPr>
          <p:spPr>
            <a:xfrm>
              <a:off x="2881314" y="2225707"/>
              <a:ext cx="1011043" cy="182382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29"/>
            <p:cNvSpPr txBox="1"/>
            <p:nvPr/>
          </p:nvSpPr>
          <p:spPr>
            <a:xfrm>
              <a:off x="2267937" y="2206222"/>
              <a:ext cx="86410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Oct</a:t>
              </a:r>
            </a:p>
          </p:txBody>
        </p:sp>
        <p:sp>
          <p:nvSpPr>
            <p:cNvPr id="23" name="Isosceles Triangle 30"/>
            <p:cNvSpPr/>
            <p:nvPr/>
          </p:nvSpPr>
          <p:spPr>
            <a:xfrm>
              <a:off x="2805762" y="2252104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Isosceles Triangle 32"/>
            <p:cNvSpPr/>
            <p:nvPr/>
          </p:nvSpPr>
          <p:spPr>
            <a:xfrm>
              <a:off x="3810962" y="2237622"/>
              <a:ext cx="156946" cy="170467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33"/>
            <p:cNvSpPr txBox="1"/>
            <p:nvPr/>
          </p:nvSpPr>
          <p:spPr>
            <a:xfrm>
              <a:off x="3911309" y="2192615"/>
              <a:ext cx="7832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Nov</a:t>
              </a:r>
            </a:p>
          </p:txBody>
        </p:sp>
      </p:grpSp>
      <p:grpSp>
        <p:nvGrpSpPr>
          <p:cNvPr id="26" name="Group 34"/>
          <p:cNvGrpSpPr/>
          <p:nvPr/>
        </p:nvGrpSpPr>
        <p:grpSpPr>
          <a:xfrm>
            <a:off x="3832046" y="4009955"/>
            <a:ext cx="3419513" cy="248236"/>
            <a:chOff x="3357486" y="2206222"/>
            <a:chExt cx="3795746" cy="203842"/>
          </a:xfrm>
        </p:grpSpPr>
        <p:sp>
          <p:nvSpPr>
            <p:cNvPr id="27" name="Rectangle 35"/>
            <p:cNvSpPr/>
            <p:nvPr/>
          </p:nvSpPr>
          <p:spPr>
            <a:xfrm>
              <a:off x="4067936" y="2218984"/>
              <a:ext cx="2300670" cy="186724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36"/>
            <p:cNvSpPr txBox="1"/>
            <p:nvPr/>
          </p:nvSpPr>
          <p:spPr>
            <a:xfrm>
              <a:off x="3357486" y="2206222"/>
              <a:ext cx="864104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Nov</a:t>
              </a:r>
            </a:p>
          </p:txBody>
        </p:sp>
        <p:sp>
          <p:nvSpPr>
            <p:cNvPr id="29" name="Isosceles Triangle 38"/>
            <p:cNvSpPr/>
            <p:nvPr/>
          </p:nvSpPr>
          <p:spPr>
            <a:xfrm>
              <a:off x="3972821" y="224337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Isosceles Triangle 39"/>
            <p:cNvSpPr/>
            <p:nvPr/>
          </p:nvSpPr>
          <p:spPr>
            <a:xfrm>
              <a:off x="6255523" y="2252883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extBox 40"/>
            <p:cNvSpPr txBox="1"/>
            <p:nvPr/>
          </p:nvSpPr>
          <p:spPr>
            <a:xfrm>
              <a:off x="6369970" y="2207877"/>
              <a:ext cx="783262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Jan</a:t>
              </a:r>
            </a:p>
          </p:txBody>
        </p:sp>
      </p:grpSp>
      <p:grpSp>
        <p:nvGrpSpPr>
          <p:cNvPr id="32" name="Group 41"/>
          <p:cNvGrpSpPr/>
          <p:nvPr/>
        </p:nvGrpSpPr>
        <p:grpSpPr>
          <a:xfrm>
            <a:off x="1791514" y="1716388"/>
            <a:ext cx="2544486" cy="246221"/>
            <a:chOff x="2286956" y="2211107"/>
            <a:chExt cx="2483891" cy="246221"/>
          </a:xfrm>
        </p:grpSpPr>
        <p:sp>
          <p:nvSpPr>
            <p:cNvPr id="33" name="Rectangle 42"/>
            <p:cNvSpPr/>
            <p:nvPr/>
          </p:nvSpPr>
          <p:spPr>
            <a:xfrm>
              <a:off x="2908641" y="2241470"/>
              <a:ext cx="1051992" cy="182899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TextBox 44"/>
            <p:cNvSpPr txBox="1"/>
            <p:nvPr/>
          </p:nvSpPr>
          <p:spPr>
            <a:xfrm>
              <a:off x="2286956" y="2211107"/>
              <a:ext cx="7887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t</a:t>
              </a:r>
            </a:p>
          </p:txBody>
        </p:sp>
        <p:sp>
          <p:nvSpPr>
            <p:cNvPr id="35" name="Isosceles Triangle 45"/>
            <p:cNvSpPr/>
            <p:nvPr/>
          </p:nvSpPr>
          <p:spPr>
            <a:xfrm>
              <a:off x="2833088" y="2251310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Isosceles Triangle 46"/>
            <p:cNvSpPr/>
            <p:nvPr/>
          </p:nvSpPr>
          <p:spPr>
            <a:xfrm>
              <a:off x="3859015" y="2244141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TextBox 47"/>
            <p:cNvSpPr txBox="1"/>
            <p:nvPr/>
          </p:nvSpPr>
          <p:spPr>
            <a:xfrm>
              <a:off x="3928172" y="2211107"/>
              <a:ext cx="8426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Oct</a:t>
              </a:r>
            </a:p>
          </p:txBody>
        </p:sp>
      </p:grpSp>
      <p:grpSp>
        <p:nvGrpSpPr>
          <p:cNvPr id="38" name="Group 48"/>
          <p:cNvGrpSpPr/>
          <p:nvPr/>
        </p:nvGrpSpPr>
        <p:grpSpPr>
          <a:xfrm>
            <a:off x="1828491" y="2948410"/>
            <a:ext cx="3673723" cy="250975"/>
            <a:chOff x="2367392" y="2220988"/>
            <a:chExt cx="3061417" cy="223218"/>
          </a:xfrm>
        </p:grpSpPr>
        <p:sp>
          <p:nvSpPr>
            <p:cNvPr id="39" name="Rectangle 50"/>
            <p:cNvSpPr/>
            <p:nvPr/>
          </p:nvSpPr>
          <p:spPr>
            <a:xfrm>
              <a:off x="2881314" y="2225707"/>
              <a:ext cx="1703360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TextBox 51"/>
            <p:cNvSpPr txBox="1"/>
            <p:nvPr/>
          </p:nvSpPr>
          <p:spPr>
            <a:xfrm>
              <a:off x="2367392" y="2225216"/>
              <a:ext cx="788714" cy="2189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t</a:t>
              </a:r>
            </a:p>
          </p:txBody>
        </p:sp>
        <p:sp>
          <p:nvSpPr>
            <p:cNvPr id="41" name="Isosceles Triangle 52"/>
            <p:cNvSpPr/>
            <p:nvPr/>
          </p:nvSpPr>
          <p:spPr>
            <a:xfrm>
              <a:off x="2805762" y="2251310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Isosceles Triangle 53"/>
            <p:cNvSpPr/>
            <p:nvPr/>
          </p:nvSpPr>
          <p:spPr>
            <a:xfrm>
              <a:off x="4506455" y="2254471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TextBox 54"/>
            <p:cNvSpPr txBox="1"/>
            <p:nvPr/>
          </p:nvSpPr>
          <p:spPr>
            <a:xfrm>
              <a:off x="4586134" y="2220988"/>
              <a:ext cx="842675" cy="2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Nov</a:t>
              </a:r>
            </a:p>
          </p:txBody>
        </p:sp>
      </p:grpSp>
      <p:grpSp>
        <p:nvGrpSpPr>
          <p:cNvPr id="44" name="Group 56"/>
          <p:cNvGrpSpPr/>
          <p:nvPr/>
        </p:nvGrpSpPr>
        <p:grpSpPr>
          <a:xfrm>
            <a:off x="4883274" y="4549815"/>
            <a:ext cx="4409411" cy="255041"/>
            <a:chOff x="2195868" y="2198980"/>
            <a:chExt cx="4894567" cy="209429"/>
          </a:xfrm>
        </p:grpSpPr>
        <p:sp>
          <p:nvSpPr>
            <p:cNvPr id="45" name="Rectangle 57"/>
            <p:cNvSpPr/>
            <p:nvPr/>
          </p:nvSpPr>
          <p:spPr>
            <a:xfrm>
              <a:off x="2881314" y="2225707"/>
              <a:ext cx="3425862" cy="1465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TextBox 58"/>
            <p:cNvSpPr txBox="1"/>
            <p:nvPr/>
          </p:nvSpPr>
          <p:spPr>
            <a:xfrm>
              <a:off x="2195868" y="2206222"/>
              <a:ext cx="864104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Dec</a:t>
              </a:r>
            </a:p>
          </p:txBody>
        </p:sp>
        <p:sp>
          <p:nvSpPr>
            <p:cNvPr id="47" name="Isosceles Triangle 59"/>
            <p:cNvSpPr/>
            <p:nvPr/>
          </p:nvSpPr>
          <p:spPr>
            <a:xfrm>
              <a:off x="2805635" y="2229322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Isosceles Triangle 60"/>
            <p:cNvSpPr/>
            <p:nvPr/>
          </p:nvSpPr>
          <p:spPr>
            <a:xfrm>
              <a:off x="6206835" y="221895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TextBox 61"/>
            <p:cNvSpPr txBox="1"/>
            <p:nvPr/>
          </p:nvSpPr>
          <p:spPr>
            <a:xfrm>
              <a:off x="6307176" y="2198980"/>
              <a:ext cx="783259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Ongoing</a:t>
              </a:r>
            </a:p>
          </p:txBody>
        </p:sp>
      </p:grpSp>
      <p:grpSp>
        <p:nvGrpSpPr>
          <p:cNvPr id="50" name="Group 62"/>
          <p:cNvGrpSpPr/>
          <p:nvPr/>
        </p:nvGrpSpPr>
        <p:grpSpPr>
          <a:xfrm>
            <a:off x="1912497" y="5075311"/>
            <a:ext cx="7371393" cy="269950"/>
            <a:chOff x="2291731" y="2206222"/>
            <a:chExt cx="8182447" cy="221672"/>
          </a:xfrm>
        </p:grpSpPr>
        <p:sp>
          <p:nvSpPr>
            <p:cNvPr id="51" name="Rectangle 63"/>
            <p:cNvSpPr/>
            <p:nvPr/>
          </p:nvSpPr>
          <p:spPr>
            <a:xfrm>
              <a:off x="2881314" y="2225707"/>
              <a:ext cx="6788072" cy="149232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Box 64"/>
            <p:cNvSpPr txBox="1"/>
            <p:nvPr/>
          </p:nvSpPr>
          <p:spPr>
            <a:xfrm>
              <a:off x="2291731" y="2206222"/>
              <a:ext cx="864104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Jul</a:t>
              </a:r>
            </a:p>
          </p:txBody>
        </p:sp>
        <p:sp>
          <p:nvSpPr>
            <p:cNvPr id="53" name="Isosceles Triangle 65"/>
            <p:cNvSpPr/>
            <p:nvPr/>
          </p:nvSpPr>
          <p:spPr>
            <a:xfrm>
              <a:off x="2805635" y="2229322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Isosceles Triangle 66"/>
            <p:cNvSpPr/>
            <p:nvPr/>
          </p:nvSpPr>
          <p:spPr>
            <a:xfrm>
              <a:off x="9590577" y="2245682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TextBox 67"/>
            <p:cNvSpPr txBox="1"/>
            <p:nvPr/>
          </p:nvSpPr>
          <p:spPr>
            <a:xfrm>
              <a:off x="9690919" y="2225707"/>
              <a:ext cx="783259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Ongoing</a:t>
              </a:r>
            </a:p>
          </p:txBody>
        </p:sp>
      </p:grpSp>
      <p:grpSp>
        <p:nvGrpSpPr>
          <p:cNvPr id="56" name="Group 68"/>
          <p:cNvGrpSpPr/>
          <p:nvPr/>
        </p:nvGrpSpPr>
        <p:grpSpPr>
          <a:xfrm>
            <a:off x="1912497" y="5443420"/>
            <a:ext cx="7371393" cy="269950"/>
            <a:chOff x="2291731" y="2206222"/>
            <a:chExt cx="8182447" cy="221672"/>
          </a:xfrm>
        </p:grpSpPr>
        <p:sp>
          <p:nvSpPr>
            <p:cNvPr id="57" name="Rectangle 69"/>
            <p:cNvSpPr/>
            <p:nvPr/>
          </p:nvSpPr>
          <p:spPr>
            <a:xfrm>
              <a:off x="2881314" y="2225707"/>
              <a:ext cx="6788072" cy="149232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TextBox 70"/>
            <p:cNvSpPr txBox="1"/>
            <p:nvPr/>
          </p:nvSpPr>
          <p:spPr>
            <a:xfrm>
              <a:off x="2291731" y="2206222"/>
              <a:ext cx="864104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Jul</a:t>
              </a:r>
            </a:p>
          </p:txBody>
        </p:sp>
        <p:sp>
          <p:nvSpPr>
            <p:cNvPr id="59" name="Isosceles Triangle 71"/>
            <p:cNvSpPr/>
            <p:nvPr/>
          </p:nvSpPr>
          <p:spPr>
            <a:xfrm>
              <a:off x="2805635" y="2229322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Isosceles Triangle 72"/>
            <p:cNvSpPr/>
            <p:nvPr/>
          </p:nvSpPr>
          <p:spPr>
            <a:xfrm>
              <a:off x="9590577" y="2245682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TextBox 73"/>
            <p:cNvSpPr txBox="1"/>
            <p:nvPr/>
          </p:nvSpPr>
          <p:spPr>
            <a:xfrm>
              <a:off x="9690919" y="2225707"/>
              <a:ext cx="783259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Ongoing</a:t>
              </a:r>
            </a:p>
          </p:txBody>
        </p:sp>
      </p:grpSp>
      <p:sp>
        <p:nvSpPr>
          <p:cNvPr id="62" name="Rectangle 69"/>
          <p:cNvSpPr/>
          <p:nvPr/>
        </p:nvSpPr>
        <p:spPr>
          <a:xfrm>
            <a:off x="2473208" y="5837910"/>
            <a:ext cx="6115230" cy="181733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70"/>
          <p:cNvSpPr txBox="1"/>
          <p:nvPr/>
        </p:nvSpPr>
        <p:spPr>
          <a:xfrm>
            <a:off x="1942065" y="5814181"/>
            <a:ext cx="7784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000" b="1" dirty="0">
                <a:latin typeface="Arial" panose="020B0604020202020204" pitchFamily="34" charset="0"/>
                <a:cs typeface="Arial" panose="020B0604020202020204" pitchFamily="34" charset="0"/>
              </a:rPr>
              <a:t>01 Jul</a:t>
            </a:r>
          </a:p>
        </p:txBody>
      </p:sp>
      <p:sp>
        <p:nvSpPr>
          <p:cNvPr id="64" name="TextBox 73"/>
          <p:cNvSpPr txBox="1"/>
          <p:nvPr/>
        </p:nvSpPr>
        <p:spPr>
          <a:xfrm>
            <a:off x="8607837" y="5837910"/>
            <a:ext cx="7056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000" b="1" dirty="0"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</a:p>
        </p:txBody>
      </p:sp>
      <p:sp>
        <p:nvSpPr>
          <p:cNvPr id="65" name="Isosceles Triangle 71"/>
          <p:cNvSpPr/>
          <p:nvPr/>
        </p:nvSpPr>
        <p:spPr>
          <a:xfrm>
            <a:off x="2405031" y="5842319"/>
            <a:ext cx="140905" cy="189957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Isosceles Triangle 71"/>
          <p:cNvSpPr/>
          <p:nvPr/>
        </p:nvSpPr>
        <p:spPr>
          <a:xfrm>
            <a:off x="8491950" y="5828670"/>
            <a:ext cx="140905" cy="189957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3026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Transformation Timeline - </a:t>
            </a:r>
            <a:r>
              <a:rPr lang="en-US" sz="2000" dirty="0"/>
              <a:t>ITSM &amp; </a:t>
            </a:r>
            <a:r>
              <a:rPr lang="en-US" sz="2000" dirty="0" smtClean="0"/>
              <a:t>Portal</a:t>
            </a:r>
            <a:endParaRPr lang="en-SG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84554001"/>
              </p:ext>
            </p:extLst>
          </p:nvPr>
        </p:nvGraphicFramePr>
        <p:xfrm>
          <a:off x="0" y="1320984"/>
          <a:ext cx="9013371" cy="336949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22106">
                  <a:extLst>
                    <a:ext uri="{9D8B030D-6E8A-4147-A177-3AD203B41FA5}">
                      <a16:colId xmlns="" xmlns:a16="http://schemas.microsoft.com/office/drawing/2014/main" val="3849059906"/>
                    </a:ext>
                  </a:extLst>
                </a:gridCol>
                <a:gridCol w="432923">
                  <a:extLst>
                    <a:ext uri="{9D8B030D-6E8A-4147-A177-3AD203B41FA5}">
                      <a16:colId xmlns="" xmlns:a16="http://schemas.microsoft.com/office/drawing/2014/main" val="3826514067"/>
                    </a:ext>
                  </a:extLst>
                </a:gridCol>
                <a:gridCol w="978654">
                  <a:extLst>
                    <a:ext uri="{9D8B030D-6E8A-4147-A177-3AD203B41FA5}">
                      <a16:colId xmlns="" xmlns:a16="http://schemas.microsoft.com/office/drawing/2014/main" val="2550091978"/>
                    </a:ext>
                  </a:extLst>
                </a:gridCol>
                <a:gridCol w="978654">
                  <a:extLst>
                    <a:ext uri="{9D8B030D-6E8A-4147-A177-3AD203B41FA5}">
                      <a16:colId xmlns="" xmlns:a16="http://schemas.microsoft.com/office/drawing/2014/main" val="3403654835"/>
                    </a:ext>
                  </a:extLst>
                </a:gridCol>
                <a:gridCol w="978654">
                  <a:extLst>
                    <a:ext uri="{9D8B030D-6E8A-4147-A177-3AD203B41FA5}">
                      <a16:colId xmlns="" xmlns:a16="http://schemas.microsoft.com/office/drawing/2014/main" val="1072737192"/>
                    </a:ext>
                  </a:extLst>
                </a:gridCol>
                <a:gridCol w="978654">
                  <a:extLst>
                    <a:ext uri="{9D8B030D-6E8A-4147-A177-3AD203B41FA5}">
                      <a16:colId xmlns="" xmlns:a16="http://schemas.microsoft.com/office/drawing/2014/main" val="2559309268"/>
                    </a:ext>
                  </a:extLst>
                </a:gridCol>
                <a:gridCol w="978654">
                  <a:extLst>
                    <a:ext uri="{9D8B030D-6E8A-4147-A177-3AD203B41FA5}">
                      <a16:colId xmlns="" xmlns:a16="http://schemas.microsoft.com/office/drawing/2014/main" val="915526007"/>
                    </a:ext>
                  </a:extLst>
                </a:gridCol>
                <a:gridCol w="978654">
                  <a:extLst>
                    <a:ext uri="{9D8B030D-6E8A-4147-A177-3AD203B41FA5}">
                      <a16:colId xmlns="" xmlns:a16="http://schemas.microsoft.com/office/drawing/2014/main" val="2273400354"/>
                    </a:ext>
                  </a:extLst>
                </a:gridCol>
                <a:gridCol w="786418">
                  <a:extLst>
                    <a:ext uri="{9D8B030D-6E8A-4147-A177-3AD203B41FA5}">
                      <a16:colId xmlns="" xmlns:a16="http://schemas.microsoft.com/office/drawing/2014/main" val="314883556"/>
                    </a:ext>
                  </a:extLst>
                </a:gridCol>
              </a:tblGrid>
              <a:tr h="626295">
                <a:tc>
                  <a:txBody>
                    <a:bodyPr/>
                    <a:lstStyle/>
                    <a:p>
                      <a:pPr algn="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35597567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r>
                        <a:rPr lang="en-US" sz="1200" b="1" dirty="0"/>
                        <a:t>1.</a:t>
                      </a:r>
                      <a:r>
                        <a:rPr lang="en-US" sz="1200" b="1" baseline="0" dirty="0"/>
                        <a:t> </a:t>
                      </a:r>
                      <a:r>
                        <a:rPr lang="en-US" sz="1200" b="1" dirty="0"/>
                        <a:t>Mobile Portal</a:t>
                      </a:r>
                      <a:r>
                        <a:rPr lang="en-US" sz="1200" b="1" baseline="0" dirty="0"/>
                        <a:t> Page Compatibility</a:t>
                      </a:r>
                      <a:endParaRPr lang="en-US" sz="1200" b="1" dirty="0"/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2924557503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2.</a:t>
                      </a:r>
                      <a:r>
                        <a:rPr lang="en-US" sz="1200" b="1" baseline="0" dirty="0"/>
                        <a:t> Online Help </a:t>
                      </a:r>
                      <a:r>
                        <a:rPr lang="en-US" sz="1200" b="1" dirty="0"/>
                        <a:t>Chat</a:t>
                      </a:r>
                      <a:r>
                        <a:rPr lang="en-US" sz="1200" b="1" baseline="0" dirty="0"/>
                        <a:t> Module</a:t>
                      </a:r>
                      <a:r>
                        <a:rPr lang="en-US" sz="1200" b="1" dirty="0"/>
                        <a:t> </a:t>
                      </a:r>
                      <a:endParaRPr lang="en-US" sz="1200" b="1" baseline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3681266895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r>
                        <a:rPr lang="en-US" sz="1200" b="1" dirty="0"/>
                        <a:t>3. Shopping Cart Bundl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2917913074"/>
                  </a:ext>
                </a:extLst>
              </a:tr>
            </a:tbl>
          </a:graphicData>
        </a:graphic>
      </p:graphicFrame>
      <p:sp>
        <p:nvSpPr>
          <p:cNvPr id="5" name="TextBox 12"/>
          <p:cNvSpPr txBox="1"/>
          <p:nvPr/>
        </p:nvSpPr>
        <p:spPr>
          <a:xfrm>
            <a:off x="2119202" y="1320984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Sep</a:t>
            </a:r>
          </a:p>
        </p:txBody>
      </p:sp>
      <p:sp>
        <p:nvSpPr>
          <p:cNvPr id="6" name="TextBox 13"/>
          <p:cNvSpPr txBox="1"/>
          <p:nvPr/>
        </p:nvSpPr>
        <p:spPr>
          <a:xfrm>
            <a:off x="3117899" y="1328775"/>
            <a:ext cx="5345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Oct</a:t>
            </a:r>
          </a:p>
        </p:txBody>
      </p:sp>
      <p:sp>
        <p:nvSpPr>
          <p:cNvPr id="7" name="TextBox 14"/>
          <p:cNvSpPr txBox="1"/>
          <p:nvPr/>
        </p:nvSpPr>
        <p:spPr>
          <a:xfrm>
            <a:off x="4109055" y="1338386"/>
            <a:ext cx="6007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</a:p>
        </p:txBody>
      </p:sp>
      <p:sp>
        <p:nvSpPr>
          <p:cNvPr id="8" name="TextBox 15"/>
          <p:cNvSpPr txBox="1"/>
          <p:nvPr/>
        </p:nvSpPr>
        <p:spPr>
          <a:xfrm>
            <a:off x="5066914" y="1343646"/>
            <a:ext cx="555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</a:p>
        </p:txBody>
      </p:sp>
      <p:sp>
        <p:nvSpPr>
          <p:cNvPr id="9" name="TextBox 16"/>
          <p:cNvSpPr txBox="1"/>
          <p:nvPr/>
        </p:nvSpPr>
        <p:spPr>
          <a:xfrm>
            <a:off x="6031566" y="1314467"/>
            <a:ext cx="5352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</a:p>
        </p:txBody>
      </p:sp>
      <p:sp>
        <p:nvSpPr>
          <p:cNvPr id="10" name="TextBox 17"/>
          <p:cNvSpPr txBox="1"/>
          <p:nvPr/>
        </p:nvSpPr>
        <p:spPr>
          <a:xfrm>
            <a:off x="7018485" y="1314466"/>
            <a:ext cx="5552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Feb</a:t>
            </a:r>
          </a:p>
        </p:txBody>
      </p:sp>
      <p:sp>
        <p:nvSpPr>
          <p:cNvPr id="11" name="TextBox 18"/>
          <p:cNvSpPr txBox="1"/>
          <p:nvPr/>
        </p:nvSpPr>
        <p:spPr>
          <a:xfrm>
            <a:off x="7808256" y="1314465"/>
            <a:ext cx="970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</a:p>
        </p:txBody>
      </p:sp>
      <p:grpSp>
        <p:nvGrpSpPr>
          <p:cNvPr id="12" name="Group 19"/>
          <p:cNvGrpSpPr/>
          <p:nvPr/>
        </p:nvGrpSpPr>
        <p:grpSpPr>
          <a:xfrm>
            <a:off x="1766871" y="2302243"/>
            <a:ext cx="2256073" cy="255168"/>
            <a:chOff x="2220734" y="2211107"/>
            <a:chExt cx="2681184" cy="343739"/>
          </a:xfrm>
        </p:grpSpPr>
        <p:sp>
          <p:nvSpPr>
            <p:cNvPr id="13" name="Rectangle 20"/>
            <p:cNvSpPr/>
            <p:nvPr/>
          </p:nvSpPr>
          <p:spPr>
            <a:xfrm>
              <a:off x="2908641" y="2241469"/>
              <a:ext cx="1167712" cy="246357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21"/>
            <p:cNvSpPr txBox="1"/>
            <p:nvPr/>
          </p:nvSpPr>
          <p:spPr>
            <a:xfrm>
              <a:off x="2220734" y="2211107"/>
              <a:ext cx="788713" cy="3316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</a:t>
              </a:r>
            </a:p>
          </p:txBody>
        </p:sp>
        <p:sp>
          <p:nvSpPr>
            <p:cNvPr id="15" name="Isosceles Triangle 22"/>
            <p:cNvSpPr/>
            <p:nvPr/>
          </p:nvSpPr>
          <p:spPr>
            <a:xfrm>
              <a:off x="2816109" y="2238480"/>
              <a:ext cx="217340" cy="246357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Isosceles Triangle 24"/>
            <p:cNvSpPr/>
            <p:nvPr/>
          </p:nvSpPr>
          <p:spPr>
            <a:xfrm>
              <a:off x="3966710" y="2239816"/>
              <a:ext cx="217340" cy="246357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25"/>
            <p:cNvSpPr txBox="1"/>
            <p:nvPr/>
          </p:nvSpPr>
          <p:spPr>
            <a:xfrm>
              <a:off x="4059242" y="2223160"/>
              <a:ext cx="842676" cy="3316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Oct</a:t>
              </a:r>
            </a:p>
          </p:txBody>
        </p:sp>
      </p:grpSp>
      <p:grpSp>
        <p:nvGrpSpPr>
          <p:cNvPr id="24" name="Group 26"/>
          <p:cNvGrpSpPr/>
          <p:nvPr/>
        </p:nvGrpSpPr>
        <p:grpSpPr>
          <a:xfrm>
            <a:off x="1749692" y="3250746"/>
            <a:ext cx="3453683" cy="250838"/>
            <a:chOff x="2268644" y="2220079"/>
            <a:chExt cx="3333929" cy="284806"/>
          </a:xfrm>
        </p:grpSpPr>
        <p:sp>
          <p:nvSpPr>
            <p:cNvPr id="25" name="Rectangle 27"/>
            <p:cNvSpPr/>
            <p:nvPr/>
          </p:nvSpPr>
          <p:spPr>
            <a:xfrm>
              <a:off x="2843978" y="2225707"/>
              <a:ext cx="1898557" cy="207645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TextBox 28"/>
            <p:cNvSpPr txBox="1"/>
            <p:nvPr/>
          </p:nvSpPr>
          <p:spPr>
            <a:xfrm>
              <a:off x="2268644" y="2225321"/>
              <a:ext cx="788714" cy="2795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</a:t>
              </a:r>
              <a:r>
                <a:rPr lang="en-SG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ep</a:t>
              </a:r>
              <a:endParaRPr lang="en-SG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Isosceles Triangle 30"/>
            <p:cNvSpPr/>
            <p:nvPr/>
          </p:nvSpPr>
          <p:spPr>
            <a:xfrm>
              <a:off x="2763885" y="2222487"/>
              <a:ext cx="176539" cy="20764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Isosceles Triangle 31"/>
            <p:cNvSpPr/>
            <p:nvPr/>
          </p:nvSpPr>
          <p:spPr>
            <a:xfrm>
              <a:off x="4654265" y="2222487"/>
              <a:ext cx="176539" cy="20764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Box 32"/>
            <p:cNvSpPr txBox="1"/>
            <p:nvPr/>
          </p:nvSpPr>
          <p:spPr>
            <a:xfrm>
              <a:off x="4759899" y="2220079"/>
              <a:ext cx="842674" cy="2795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Nov</a:t>
              </a:r>
            </a:p>
          </p:txBody>
        </p:sp>
      </p:grpSp>
      <p:grpSp>
        <p:nvGrpSpPr>
          <p:cNvPr id="30" name="Group 34"/>
          <p:cNvGrpSpPr/>
          <p:nvPr/>
        </p:nvGrpSpPr>
        <p:grpSpPr>
          <a:xfrm>
            <a:off x="1749680" y="4129700"/>
            <a:ext cx="7523909" cy="252558"/>
            <a:chOff x="2325404" y="2216288"/>
            <a:chExt cx="3176505" cy="375359"/>
          </a:xfrm>
        </p:grpSpPr>
        <p:sp>
          <p:nvSpPr>
            <p:cNvPr id="31" name="Rectangle 35"/>
            <p:cNvSpPr/>
            <p:nvPr/>
          </p:nvSpPr>
          <p:spPr>
            <a:xfrm>
              <a:off x="2577030" y="2225706"/>
              <a:ext cx="2071257" cy="271802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Box 36"/>
            <p:cNvSpPr txBox="1"/>
            <p:nvPr/>
          </p:nvSpPr>
          <p:spPr>
            <a:xfrm>
              <a:off x="2325404" y="2225321"/>
              <a:ext cx="788714" cy="3659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</a:t>
              </a:r>
              <a:r>
                <a:rPr lang="en-SG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ep</a:t>
              </a:r>
              <a:endParaRPr lang="en-SG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Isosceles Triangle 37"/>
            <p:cNvSpPr/>
            <p:nvPr/>
          </p:nvSpPr>
          <p:spPr>
            <a:xfrm>
              <a:off x="2542001" y="2216288"/>
              <a:ext cx="77210" cy="271802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Isosceles Triangle 38"/>
            <p:cNvSpPr/>
            <p:nvPr/>
          </p:nvSpPr>
          <p:spPr>
            <a:xfrm>
              <a:off x="4605047" y="2220987"/>
              <a:ext cx="77210" cy="271802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39"/>
            <p:cNvSpPr txBox="1"/>
            <p:nvPr/>
          </p:nvSpPr>
          <p:spPr>
            <a:xfrm>
              <a:off x="4659235" y="2225706"/>
              <a:ext cx="842674" cy="3659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Fe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06212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Transformation Timeline - </a:t>
            </a:r>
            <a:r>
              <a:rPr lang="en-US" sz="2000" dirty="0" err="1" smtClean="0"/>
              <a:t>Solarwind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81609458"/>
              </p:ext>
            </p:extLst>
          </p:nvPr>
        </p:nvGraphicFramePr>
        <p:xfrm>
          <a:off x="89426" y="891776"/>
          <a:ext cx="9432185" cy="502919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10552">
                  <a:extLst>
                    <a:ext uri="{9D8B030D-6E8A-4147-A177-3AD203B41FA5}">
                      <a16:colId xmlns="" xmlns:a16="http://schemas.microsoft.com/office/drawing/2014/main" val="3849059906"/>
                    </a:ext>
                  </a:extLst>
                </a:gridCol>
                <a:gridCol w="353905">
                  <a:extLst>
                    <a:ext uri="{9D8B030D-6E8A-4147-A177-3AD203B41FA5}">
                      <a16:colId xmlns="" xmlns:a16="http://schemas.microsoft.com/office/drawing/2014/main" val="3826514067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2550091978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3403654835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1072737192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2559309268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915526007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2273400354"/>
                    </a:ext>
                  </a:extLst>
                </a:gridCol>
                <a:gridCol w="822960">
                  <a:extLst>
                    <a:ext uri="{9D8B030D-6E8A-4147-A177-3AD203B41FA5}">
                      <a16:colId xmlns="" xmlns:a16="http://schemas.microsoft.com/office/drawing/2014/main" val="314883556"/>
                    </a:ext>
                  </a:extLst>
                </a:gridCol>
              </a:tblGrid>
              <a:tr h="546155">
                <a:tc>
                  <a:txBody>
                    <a:bodyPr/>
                    <a:lstStyle/>
                    <a:p>
                      <a:pPr algn="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35597567"/>
                  </a:ext>
                </a:extLst>
              </a:tr>
              <a:tr h="682698">
                <a:tc>
                  <a:txBody>
                    <a:bodyPr/>
                    <a:lstStyle/>
                    <a:p>
                      <a:r>
                        <a:rPr lang="en-US" sz="1200" b="1"/>
                        <a:t>0. Onboarding</a:t>
                      </a:r>
                      <a:r>
                        <a:rPr lang="en-US" sz="1200" b="1" baseline="0"/>
                        <a:t> Remote Site</a:t>
                      </a:r>
                      <a:endParaRPr lang="en-US" sz="1200" b="1" dirty="0"/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2924557503"/>
                  </a:ext>
                </a:extLst>
              </a:tr>
              <a:tr h="68269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/>
                        <a:t>1. Customization</a:t>
                      </a:r>
                      <a:r>
                        <a:rPr lang="en-US" sz="1200" b="1" baseline="0"/>
                        <a:t> Alerts on Network Devices</a:t>
                      </a:r>
                      <a:endParaRPr lang="en-US" sz="1200" b="1" baseline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3681266895"/>
                  </a:ext>
                </a:extLst>
              </a:tr>
              <a:tr h="682698">
                <a:tc>
                  <a:txBody>
                    <a:bodyPr/>
                    <a:lstStyle/>
                    <a:p>
                      <a:r>
                        <a:rPr lang="en-US" sz="1200" b="1"/>
                        <a:t>2. Refining Baseline Compliance</a:t>
                      </a:r>
                      <a:endParaRPr lang="en-US" sz="12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2917913074"/>
                  </a:ext>
                </a:extLst>
              </a:tr>
              <a:tr h="546155">
                <a:tc>
                  <a:txBody>
                    <a:bodyPr/>
                    <a:lstStyle/>
                    <a:p>
                      <a:r>
                        <a:rPr lang="en-US" sz="1200" b="1"/>
                        <a:t>3.</a:t>
                      </a:r>
                      <a:r>
                        <a:rPr lang="en-US" sz="1200" b="1" baseline="0"/>
                        <a:t> Centralized Reporting</a:t>
                      </a:r>
                      <a:endParaRPr lang="en-US" sz="12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868011929"/>
                  </a:ext>
                </a:extLst>
              </a:tr>
              <a:tr h="682698">
                <a:tc>
                  <a:txBody>
                    <a:bodyPr/>
                    <a:lstStyle/>
                    <a:p>
                      <a:r>
                        <a:rPr lang="en-US" sz="1200" b="1"/>
                        <a:t>4. Refining Network</a:t>
                      </a:r>
                      <a:r>
                        <a:rPr lang="en-US" sz="1200" b="1" baseline="0"/>
                        <a:t> Topology</a:t>
                      </a:r>
                      <a:endParaRPr lang="en-US" sz="12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773018878"/>
                  </a:ext>
                </a:extLst>
              </a:tr>
              <a:tr h="1206097">
                <a:tc>
                  <a:txBody>
                    <a:bodyPr/>
                    <a:lstStyle/>
                    <a:p>
                      <a:endParaRPr lang="en-US" sz="1200" b="1"/>
                    </a:p>
                    <a:p>
                      <a:r>
                        <a:rPr lang="en-US" sz="1200" b="1"/>
                        <a:t>5. Adding Polling</a:t>
                      </a:r>
                      <a:r>
                        <a:rPr lang="en-US" sz="1200" b="1" baseline="0"/>
                        <a:t> Engine for WIFI and Remote Site</a:t>
                      </a:r>
                      <a:endParaRPr lang="en-US" sz="1100" b="0" baseline="0"/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endParaRPr lang="en-US" sz="1100" b="0" baseline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4251292724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2291237" y="892194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1 Jul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239346" y="903520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</a:t>
            </a:r>
            <a:r>
              <a:rPr lang="en-SG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ug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276505" y="898713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1 Sep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318123" y="902762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</a:t>
            </a:r>
            <a:r>
              <a:rPr lang="en-SG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ct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266232" y="901809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1 Nov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298896" y="892194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</a:t>
            </a:r>
            <a:r>
              <a:rPr lang="en-SG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247042" y="892197"/>
            <a:ext cx="970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2045955" y="1697041"/>
            <a:ext cx="7262353" cy="246699"/>
            <a:chOff x="656629" y="2219674"/>
            <a:chExt cx="7089388" cy="246699"/>
          </a:xfrm>
        </p:grpSpPr>
        <p:sp>
          <p:nvSpPr>
            <p:cNvPr id="51" name="Rectangle 50"/>
            <p:cNvSpPr/>
            <p:nvPr/>
          </p:nvSpPr>
          <p:spPr>
            <a:xfrm>
              <a:off x="1157499" y="2225707"/>
              <a:ext cx="5981810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boarding</a:t>
              </a:r>
              <a:r>
                <a:rPr lang="en-SG" sz="10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Remote Site</a:t>
              </a:r>
              <a:endParaRPr lang="en-SG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56629" y="2220152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</a:t>
              </a:r>
              <a:r>
                <a:rPr lang="en-SG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Jul</a:t>
              </a:r>
              <a:endParaRPr lang="en-SG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Isosceles Triangle 52"/>
            <p:cNvSpPr/>
            <p:nvPr/>
          </p:nvSpPr>
          <p:spPr>
            <a:xfrm>
              <a:off x="1091811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Isosceles Triangle 53"/>
            <p:cNvSpPr/>
            <p:nvPr/>
          </p:nvSpPr>
          <p:spPr>
            <a:xfrm>
              <a:off x="7052600" y="225764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7123653" y="221967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1 Dec</a:t>
              </a:r>
              <a:endParaRPr lang="en-SG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4011761" y="5131041"/>
            <a:ext cx="2246622" cy="246222"/>
            <a:chOff x="2416310" y="2224494"/>
            <a:chExt cx="2193106" cy="246222"/>
          </a:xfrm>
        </p:grpSpPr>
        <p:sp>
          <p:nvSpPr>
            <p:cNvPr id="142" name="Rectangle 141"/>
            <p:cNvSpPr/>
            <p:nvPr/>
          </p:nvSpPr>
          <p:spPr>
            <a:xfrm>
              <a:off x="3000015" y="2225707"/>
              <a:ext cx="992179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lling Engine</a:t>
              </a: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2416310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1 Sep</a:t>
              </a:r>
              <a:endParaRPr lang="en-SG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Isosceles Triangle 143"/>
            <p:cNvSpPr/>
            <p:nvPr/>
          </p:nvSpPr>
          <p:spPr>
            <a:xfrm>
              <a:off x="2923546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Isosceles Triangle 144"/>
            <p:cNvSpPr/>
            <p:nvPr/>
          </p:nvSpPr>
          <p:spPr>
            <a:xfrm>
              <a:off x="3918349" y="225764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3987052" y="2224495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1 Oct</a:t>
              </a:r>
              <a:endParaRPr lang="en-SG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2052479" y="2368335"/>
            <a:ext cx="7536181" cy="246221"/>
            <a:chOff x="717516" y="2220152"/>
            <a:chExt cx="6421793" cy="246221"/>
          </a:xfrm>
        </p:grpSpPr>
        <p:sp>
          <p:nvSpPr>
            <p:cNvPr id="131" name="Rectangle 130"/>
            <p:cNvSpPr/>
            <p:nvPr/>
          </p:nvSpPr>
          <p:spPr>
            <a:xfrm>
              <a:off x="1157499" y="2225707"/>
              <a:ext cx="5981810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stomization Alerts on Network Devices</a:t>
              </a: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717516" y="2220152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</a:t>
              </a:r>
              <a:r>
                <a:rPr lang="en-SG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Jul</a:t>
              </a:r>
              <a:endParaRPr lang="en-SG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Isosceles Triangle 132"/>
            <p:cNvSpPr/>
            <p:nvPr/>
          </p:nvSpPr>
          <p:spPr>
            <a:xfrm>
              <a:off x="1091811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2" name="Group 58"/>
          <p:cNvGrpSpPr/>
          <p:nvPr/>
        </p:nvGrpSpPr>
        <p:grpSpPr>
          <a:xfrm>
            <a:off x="2989825" y="3075592"/>
            <a:ext cx="3824577" cy="246222"/>
            <a:chOff x="2450403" y="2224494"/>
            <a:chExt cx="3733480" cy="246222"/>
          </a:xfrm>
        </p:grpSpPr>
        <p:sp>
          <p:nvSpPr>
            <p:cNvPr id="163" name="Rectangle 59"/>
            <p:cNvSpPr/>
            <p:nvPr/>
          </p:nvSpPr>
          <p:spPr>
            <a:xfrm>
              <a:off x="3035852" y="2225707"/>
              <a:ext cx="2535953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ining Baseline Compliance</a:t>
              </a:r>
            </a:p>
          </p:txBody>
        </p:sp>
        <p:sp>
          <p:nvSpPr>
            <p:cNvPr id="164" name="TextBox 60"/>
            <p:cNvSpPr txBox="1"/>
            <p:nvPr/>
          </p:nvSpPr>
          <p:spPr>
            <a:xfrm>
              <a:off x="2450403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Aug</a:t>
              </a:r>
            </a:p>
          </p:txBody>
        </p:sp>
        <p:sp>
          <p:nvSpPr>
            <p:cNvPr id="165" name="Isosceles Triangle 61"/>
            <p:cNvSpPr/>
            <p:nvPr/>
          </p:nvSpPr>
          <p:spPr>
            <a:xfrm>
              <a:off x="2963840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Isosceles Triangle 62"/>
            <p:cNvSpPr/>
            <p:nvPr/>
          </p:nvSpPr>
          <p:spPr>
            <a:xfrm>
              <a:off x="5492848" y="225764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TextBox 75"/>
            <p:cNvSpPr txBox="1"/>
            <p:nvPr/>
          </p:nvSpPr>
          <p:spPr>
            <a:xfrm>
              <a:off x="5561519" y="2224495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Oct</a:t>
              </a:r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2035144" y="3678032"/>
            <a:ext cx="7548881" cy="246221"/>
            <a:chOff x="706694" y="2220152"/>
            <a:chExt cx="6432615" cy="246221"/>
          </a:xfrm>
        </p:grpSpPr>
        <p:sp>
          <p:nvSpPr>
            <p:cNvPr id="169" name="Rectangle 168"/>
            <p:cNvSpPr/>
            <p:nvPr/>
          </p:nvSpPr>
          <p:spPr>
            <a:xfrm>
              <a:off x="1157499" y="2225707"/>
              <a:ext cx="5981810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ntralized Reporting</a:t>
              </a:r>
              <a:endParaRPr lang="en-SG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706694" y="2220152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</a:t>
              </a:r>
              <a:r>
                <a:rPr lang="en-SG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Jul</a:t>
              </a:r>
              <a:endParaRPr lang="en-SG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Isosceles Triangle 170"/>
            <p:cNvSpPr/>
            <p:nvPr/>
          </p:nvSpPr>
          <p:spPr>
            <a:xfrm>
              <a:off x="1091811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2545849" y="4288884"/>
            <a:ext cx="7038177" cy="246221"/>
            <a:chOff x="706694" y="2220152"/>
            <a:chExt cx="5997430" cy="246221"/>
          </a:xfrm>
        </p:grpSpPr>
        <p:sp>
          <p:nvSpPr>
            <p:cNvPr id="173" name="Rectangle 172"/>
            <p:cNvSpPr/>
            <p:nvPr/>
          </p:nvSpPr>
          <p:spPr>
            <a:xfrm>
              <a:off x="1157500" y="2225707"/>
              <a:ext cx="5546624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ining Network Topology</a:t>
              </a:r>
              <a:endParaRPr lang="en-SG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706694" y="2220152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5 Jul</a:t>
              </a:r>
              <a:endParaRPr lang="en-SG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Isosceles Triangle 174"/>
            <p:cNvSpPr/>
            <p:nvPr/>
          </p:nvSpPr>
          <p:spPr>
            <a:xfrm>
              <a:off x="1091811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60985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76332" y="1151514"/>
            <a:ext cx="5524332" cy="547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3" name="Rectangle 7"/>
          <p:cNvSpPr>
            <a:spLocks/>
          </p:cNvSpPr>
          <p:nvPr/>
        </p:nvSpPr>
        <p:spPr bwMode="auto">
          <a:xfrm>
            <a:off x="2057400" y="2286001"/>
            <a:ext cx="161904" cy="446276"/>
          </a:xfrm>
          <a:prstGeom prst="rect">
            <a:avLst/>
          </a:prstGeom>
          <a:noFill/>
          <a:ln w="12700" cap="rnd">
            <a:noFill/>
            <a:round/>
            <a:headEnd type="none" w="med" len="med"/>
            <a:tailEnd type="none" w="med" len="med"/>
          </a:ln>
        </p:spPr>
        <p:txBody>
          <a:bodyPr wrap="none" lIns="38100" tIns="38100" rIns="38100" bIns="3810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solidFill>
                  <a:srgbClr val="32323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-106" charset="-128"/>
                <a:cs typeface="Arial" charset="0"/>
                <a:sym typeface="Arial" charset="0"/>
              </a:rPr>
              <a:t> </a:t>
            </a:r>
          </a:p>
        </p:txBody>
      </p:sp>
      <p:graphicFrame>
        <p:nvGraphicFramePr>
          <p:cNvPr id="4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3399495"/>
              </p:ext>
            </p:extLst>
          </p:nvPr>
        </p:nvGraphicFramePr>
        <p:xfrm>
          <a:off x="1600200" y="1627475"/>
          <a:ext cx="7086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/>
          <p:cNvSpPr/>
          <p:nvPr/>
        </p:nvSpPr>
        <p:spPr>
          <a:xfrm>
            <a:off x="1770944" y="1810039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34767" y="2768131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43125" y="3604688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34654" y="4488504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43297" y="5320971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7657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77411"/>
            <a:ext cx="8794113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SG" b="1" dirty="0">
                <a:solidFill>
                  <a:srgbClr val="C00000"/>
                </a:solidFill>
              </a:rPr>
              <a:t>Solution Review: Overall Architectur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0561" y="881696"/>
            <a:ext cx="1929558" cy="607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9957" y="1320007"/>
            <a:ext cx="1304749" cy="1782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0618" y="1404382"/>
            <a:ext cx="598208" cy="15525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5837" y="1434757"/>
            <a:ext cx="598208" cy="15525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88446" y="1462826"/>
            <a:ext cx="2752656" cy="1485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27862" y="3790674"/>
            <a:ext cx="3336526" cy="14842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19720" y="3000687"/>
            <a:ext cx="290108" cy="69922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32376" y="5268167"/>
            <a:ext cx="843338" cy="105633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0561" y="3541835"/>
            <a:ext cx="2374841" cy="22545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13017" y="3699915"/>
            <a:ext cx="863578" cy="8775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24603" y="3854186"/>
            <a:ext cx="1194167" cy="12555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31578" y="5026101"/>
            <a:ext cx="290108" cy="66426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81773" y="4138665"/>
            <a:ext cx="593710" cy="29025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38861" y="4138665"/>
            <a:ext cx="593710" cy="29025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36217" y="2931566"/>
            <a:ext cx="971526" cy="9720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974127" y="2954576"/>
            <a:ext cx="1099713" cy="9922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51860" y="1484887"/>
            <a:ext cx="2821557" cy="1281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623741" y="5690362"/>
            <a:ext cx="1900350" cy="9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448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1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9" dur="2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2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 tmFilter="0, 0; .2, .5; .8, .5; 1, 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5" dur="250" autoRev="1" fill="hold"/>
                                        <p:tgtEl>
                                          <p:spTgt spid="2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 tmFilter="0, 0; .2, .5; .8, .5; 1, 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8" dur="250" autoRev="1" fill="hold"/>
                                        <p:tgtEl>
                                          <p:spTgt spid="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 tmFilter="0, 0; .2, .5; .8, .5; 1, 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1" dur="250" autoRev="1" fill="hold"/>
                                        <p:tgtEl>
                                          <p:spTgt spid="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People</a:t>
            </a:r>
            <a:r>
              <a:rPr lang="en-US"/>
              <a:t>, </a:t>
            </a:r>
            <a:r>
              <a:rPr lang="en-US" dirty="0"/>
              <a:t>Process</a:t>
            </a:r>
            <a:r>
              <a:rPr lang="en-US"/>
              <a:t>, Tool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1808670"/>
              </p:ext>
            </p:extLst>
          </p:nvPr>
        </p:nvGraphicFramePr>
        <p:xfrm>
          <a:off x="173038" y="1033665"/>
          <a:ext cx="8825188" cy="52148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5031">
                  <a:extLst>
                    <a:ext uri="{9D8B030D-6E8A-4147-A177-3AD203B41FA5}">
                      <a16:colId xmlns="" xmlns:a16="http://schemas.microsoft.com/office/drawing/2014/main" val="543994884"/>
                    </a:ext>
                  </a:extLst>
                </a:gridCol>
                <a:gridCol w="2342605">
                  <a:extLst>
                    <a:ext uri="{9D8B030D-6E8A-4147-A177-3AD203B41FA5}">
                      <a16:colId xmlns="" xmlns:a16="http://schemas.microsoft.com/office/drawing/2014/main" val="1691252343"/>
                    </a:ext>
                  </a:extLst>
                </a:gridCol>
                <a:gridCol w="1454332">
                  <a:extLst>
                    <a:ext uri="{9D8B030D-6E8A-4147-A177-3AD203B41FA5}">
                      <a16:colId xmlns="" xmlns:a16="http://schemas.microsoft.com/office/drawing/2014/main" val="3439518344"/>
                    </a:ext>
                  </a:extLst>
                </a:gridCol>
                <a:gridCol w="1506583">
                  <a:extLst>
                    <a:ext uri="{9D8B030D-6E8A-4147-A177-3AD203B41FA5}">
                      <a16:colId xmlns="" xmlns:a16="http://schemas.microsoft.com/office/drawing/2014/main" val="3152175724"/>
                    </a:ext>
                  </a:extLst>
                </a:gridCol>
                <a:gridCol w="1186637">
                  <a:extLst>
                    <a:ext uri="{9D8B030D-6E8A-4147-A177-3AD203B41FA5}">
                      <a16:colId xmlns="" xmlns:a16="http://schemas.microsoft.com/office/drawing/2014/main" val="3816617059"/>
                    </a:ext>
                  </a:extLst>
                </a:gridCol>
              </a:tblGrid>
              <a:tr h="227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ol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cesse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t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 Infra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 EUC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397148247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SM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2996844183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 Now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ident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m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i-FI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i Pin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5728897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lem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m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  <a:endParaRPr kumimoji="0" lang="fi-FI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015394225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e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m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  <a:endParaRPr kumimoji="0" lang="fi-FI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276250635"/>
                  </a:ext>
                </a:extLst>
              </a:tr>
              <a:tr h="44533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 Level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m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  <a:endParaRPr kumimoji="0" lang="fi-FI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2178775157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 Catalog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m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  <a:endParaRPr kumimoji="0" lang="fi-FI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459372421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nowledge Based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m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  <a:endParaRPr kumimoji="0" lang="fi-FI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2681964970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lf Service Portal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ident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lv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  <a:endParaRPr kumimoji="0" lang="fi-FI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285029056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lem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lv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  <a:endParaRPr kumimoji="0" lang="fi-FI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2329575989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e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lv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  <a:endParaRPr kumimoji="0" lang="fi-FI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896132059"/>
                  </a:ext>
                </a:extLst>
              </a:tr>
              <a:tr h="44533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 Level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lv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  <a:endParaRPr kumimoji="0" lang="fi-FI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542255562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 Catalog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lv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763262592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nowledge Based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lv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2110949796"/>
                  </a:ext>
                </a:extLst>
              </a:tr>
              <a:tr h="44533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and Desktop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721005534"/>
                  </a:ext>
                </a:extLst>
              </a:tr>
              <a:tr h="66277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Center Configuration Manager (SCCM)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Management (Computer Devices)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i Yip, Boon Hock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883293392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ch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i Yip, Boon Hock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Wai Pin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760004163"/>
                  </a:ext>
                </a:extLst>
              </a:tr>
              <a:tr h="227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6728995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29945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People</a:t>
            </a:r>
            <a:r>
              <a:rPr lang="en-US"/>
              <a:t>, </a:t>
            </a:r>
            <a:r>
              <a:rPr lang="en-US" dirty="0"/>
              <a:t>Process</a:t>
            </a:r>
            <a:r>
              <a:rPr lang="en-US"/>
              <a:t>, Tool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54998016"/>
              </p:ext>
            </p:extLst>
          </p:nvPr>
        </p:nvGraphicFramePr>
        <p:xfrm>
          <a:off x="173038" y="1033669"/>
          <a:ext cx="8825188" cy="44349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7979">
                  <a:extLst>
                    <a:ext uri="{9D8B030D-6E8A-4147-A177-3AD203B41FA5}">
                      <a16:colId xmlns="" xmlns:a16="http://schemas.microsoft.com/office/drawing/2014/main" val="543994884"/>
                    </a:ext>
                  </a:extLst>
                </a:gridCol>
                <a:gridCol w="2638697">
                  <a:extLst>
                    <a:ext uri="{9D8B030D-6E8A-4147-A177-3AD203B41FA5}">
                      <a16:colId xmlns="" xmlns:a16="http://schemas.microsoft.com/office/drawing/2014/main" val="1691252343"/>
                    </a:ext>
                  </a:extLst>
                </a:gridCol>
                <a:gridCol w="1982147">
                  <a:extLst>
                    <a:ext uri="{9D8B030D-6E8A-4147-A177-3AD203B41FA5}">
                      <a16:colId xmlns="" xmlns:a16="http://schemas.microsoft.com/office/drawing/2014/main" val="3439518344"/>
                    </a:ext>
                  </a:extLst>
                </a:gridCol>
                <a:gridCol w="1086678">
                  <a:extLst>
                    <a:ext uri="{9D8B030D-6E8A-4147-A177-3AD203B41FA5}">
                      <a16:colId xmlns="" xmlns:a16="http://schemas.microsoft.com/office/drawing/2014/main" val="3152175724"/>
                    </a:ext>
                  </a:extLst>
                </a:gridCol>
                <a:gridCol w="1139687">
                  <a:extLst>
                    <a:ext uri="{9D8B030D-6E8A-4147-A177-3AD203B41FA5}">
                      <a16:colId xmlns="" xmlns:a16="http://schemas.microsoft.com/office/drawing/2014/main" val="38166170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dirty="0"/>
                        <a:t>Tool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dirty="0"/>
                        <a:t>Processe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dirty="0"/>
                        <a:t>Singtel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dirty="0"/>
                        <a:t>CL Infr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dirty="0"/>
                        <a:t>CL EUC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397148247"/>
                  </a:ext>
                </a:extLst>
              </a:tr>
              <a:tr h="2268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work Monitoring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23952219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wind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etwork Performance Monitoring (NPM)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vid Wong, Alphonsu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Susie Chia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5275468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vid Wong, Alphonsu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Susie Chi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0968975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6728995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wind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etwork Configuration Manager (NCM)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Management (Network Devices)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vid Wong, Alphonsu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Susie Chia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4946017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vid Wong, Alphonsu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Susie Chi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737837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Monitoring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5144745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 Center Operation Manager (SCOM)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lph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30851530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lph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 Chi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6830616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WIK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i Yi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 Chi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41646198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5456386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S Gateway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 Managemen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phonsu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ie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7567496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9843304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31591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76332" y="1151514"/>
            <a:ext cx="5524332" cy="547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3" name="Rectangle 7"/>
          <p:cNvSpPr>
            <a:spLocks/>
          </p:cNvSpPr>
          <p:nvPr/>
        </p:nvSpPr>
        <p:spPr bwMode="auto">
          <a:xfrm>
            <a:off x="2057400" y="2286001"/>
            <a:ext cx="161904" cy="446276"/>
          </a:xfrm>
          <a:prstGeom prst="rect">
            <a:avLst/>
          </a:prstGeom>
          <a:noFill/>
          <a:ln w="12700" cap="rnd">
            <a:noFill/>
            <a:round/>
            <a:headEnd type="none" w="med" len="med"/>
            <a:tailEnd type="none" w="med" len="med"/>
          </a:ln>
        </p:spPr>
        <p:txBody>
          <a:bodyPr wrap="none" lIns="38100" tIns="38100" rIns="38100" bIns="3810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solidFill>
                  <a:srgbClr val="32323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-106" charset="-128"/>
                <a:cs typeface="Arial" charset="0"/>
                <a:sym typeface="Arial" charset="0"/>
              </a:rPr>
              <a:t> </a:t>
            </a:r>
          </a:p>
        </p:txBody>
      </p:sp>
      <p:graphicFrame>
        <p:nvGraphicFramePr>
          <p:cNvPr id="4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1355584"/>
              </p:ext>
            </p:extLst>
          </p:nvPr>
        </p:nvGraphicFramePr>
        <p:xfrm>
          <a:off x="1600200" y="1627475"/>
          <a:ext cx="7086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/>
          <p:cNvSpPr/>
          <p:nvPr/>
        </p:nvSpPr>
        <p:spPr>
          <a:xfrm>
            <a:off x="1818857" y="1939892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27455" y="2732277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52551" y="3628846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19304" y="4467996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01439" y="5310381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72383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100" y="344158"/>
            <a:ext cx="8229600" cy="507831"/>
          </a:xfrm>
        </p:spPr>
        <p:txBody>
          <a:bodyPr>
            <a:normAutofit/>
          </a:bodyPr>
          <a:lstStyle/>
          <a:p>
            <a:r>
              <a:rPr lang="en-US" sz="2700" dirty="0"/>
              <a:t>Transition and Transformation Overview</a:t>
            </a:r>
            <a:endParaRPr lang="en-SG" sz="2700" dirty="0"/>
          </a:p>
        </p:txBody>
      </p:sp>
      <p:sp>
        <p:nvSpPr>
          <p:cNvPr id="4" name="Pentagon 3"/>
          <p:cNvSpPr/>
          <p:nvPr/>
        </p:nvSpPr>
        <p:spPr>
          <a:xfrm>
            <a:off x="1953909" y="1538790"/>
            <a:ext cx="4952053" cy="1230941"/>
          </a:xfrm>
          <a:prstGeom prst="homePlate">
            <a:avLst/>
          </a:prstGeom>
          <a:solidFill>
            <a:srgbClr val="CC0000"/>
          </a:solidFill>
          <a:ln w="9525" cap="flat" cmpd="sng" algn="ctr">
            <a:solidFill>
              <a:srgbClr val="72605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t" anchorCtr="0"/>
          <a:lstStyle/>
          <a:p>
            <a:pPr algn="ctr">
              <a:defRPr/>
            </a:pPr>
            <a:r>
              <a:rPr lang="en-GB" sz="120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TM</a:t>
            </a:r>
          </a:p>
        </p:txBody>
      </p:sp>
      <p:grpSp>
        <p:nvGrpSpPr>
          <p:cNvPr id="5" name="Group 15"/>
          <p:cNvGrpSpPr/>
          <p:nvPr/>
        </p:nvGrpSpPr>
        <p:grpSpPr>
          <a:xfrm>
            <a:off x="2148891" y="1794205"/>
            <a:ext cx="4622739" cy="719765"/>
            <a:chOff x="2116959" y="2187400"/>
            <a:chExt cx="6067790" cy="959686"/>
          </a:xfrm>
        </p:grpSpPr>
        <p:sp>
          <p:nvSpPr>
            <p:cNvPr id="6" name="Pentagon 5"/>
            <p:cNvSpPr/>
            <p:nvPr/>
          </p:nvSpPr>
          <p:spPr>
            <a:xfrm>
              <a:off x="2116959" y="2187862"/>
              <a:ext cx="1540165" cy="959224"/>
            </a:xfrm>
            <a:prstGeom prst="homePlate">
              <a:avLst/>
            </a:prstGeom>
            <a:gradFill rotWithShape="1">
              <a:gsLst>
                <a:gs pos="0">
                  <a:srgbClr val="726056">
                    <a:shade val="51000"/>
                    <a:satMod val="130000"/>
                  </a:srgbClr>
                </a:gs>
                <a:gs pos="80000">
                  <a:srgbClr val="726056">
                    <a:shade val="93000"/>
                    <a:satMod val="130000"/>
                  </a:srgbClr>
                </a:gs>
                <a:gs pos="100000">
                  <a:srgbClr val="726056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tlCol="0" anchor="ctr"/>
            <a:lstStyle/>
            <a:p>
              <a:pPr marL="134541">
                <a:defRPr/>
              </a:pPr>
              <a:r>
                <a:rPr lang="en-GB" sz="1050" kern="0" dirty="0">
                  <a:solidFill>
                    <a:sysClr val="window" lastClr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sales</a:t>
              </a:r>
            </a:p>
          </p:txBody>
        </p:sp>
        <p:sp>
          <p:nvSpPr>
            <p:cNvPr id="7" name="Chevron 6"/>
            <p:cNvSpPr/>
            <p:nvPr/>
          </p:nvSpPr>
          <p:spPr>
            <a:xfrm>
              <a:off x="5497546" y="2187400"/>
              <a:ext cx="2687203" cy="959224"/>
            </a:xfrm>
            <a:prstGeom prst="chevron">
              <a:avLst>
                <a:gd name="adj" fmla="val 51792"/>
              </a:avLst>
            </a:prstGeom>
            <a:gradFill rotWithShape="1">
              <a:gsLst>
                <a:gs pos="0">
                  <a:srgbClr val="726056">
                    <a:shade val="51000"/>
                    <a:satMod val="130000"/>
                  </a:srgbClr>
                </a:gs>
                <a:gs pos="80000">
                  <a:srgbClr val="726056">
                    <a:shade val="93000"/>
                    <a:satMod val="130000"/>
                  </a:srgbClr>
                </a:gs>
                <a:gs pos="100000">
                  <a:srgbClr val="726056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tlCol="0" anchor="ctr"/>
            <a:lstStyle/>
            <a:p>
              <a:pPr marL="66675" algn="ctr">
                <a:defRPr/>
              </a:pPr>
              <a:r>
                <a:rPr lang="en-GB" sz="1050" kern="0" dirty="0">
                  <a:solidFill>
                    <a:sysClr val="window" lastClr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ormation</a:t>
              </a:r>
            </a:p>
          </p:txBody>
        </p:sp>
        <p:sp>
          <p:nvSpPr>
            <p:cNvPr id="8" name="Chevron 7"/>
            <p:cNvSpPr/>
            <p:nvPr/>
          </p:nvSpPr>
          <p:spPr>
            <a:xfrm>
              <a:off x="3237754" y="2187400"/>
              <a:ext cx="2687203" cy="959224"/>
            </a:xfrm>
            <a:prstGeom prst="chevron">
              <a:avLst>
                <a:gd name="adj" fmla="val 51792"/>
              </a:avLst>
            </a:prstGeom>
            <a:gradFill rotWithShape="1">
              <a:gsLst>
                <a:gs pos="0">
                  <a:srgbClr val="726056">
                    <a:shade val="51000"/>
                    <a:satMod val="130000"/>
                  </a:srgbClr>
                </a:gs>
                <a:gs pos="80000">
                  <a:srgbClr val="726056">
                    <a:shade val="93000"/>
                    <a:satMod val="130000"/>
                  </a:srgbClr>
                </a:gs>
                <a:gs pos="100000">
                  <a:srgbClr val="726056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tlCol="0" anchor="ctr"/>
            <a:lstStyle/>
            <a:p>
              <a:pPr marL="66675" algn="ctr">
                <a:defRPr/>
              </a:pPr>
              <a:r>
                <a:rPr lang="en-GB" sz="1050" kern="0" dirty="0">
                  <a:solidFill>
                    <a:sysClr val="window" lastClr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ition</a:t>
              </a:r>
            </a:p>
          </p:txBody>
        </p:sp>
      </p:grpSp>
      <p:sp>
        <p:nvSpPr>
          <p:cNvPr id="9" name="Rectangle 8"/>
          <p:cNvSpPr/>
          <p:nvPr/>
        </p:nvSpPr>
        <p:spPr>
          <a:xfrm>
            <a:off x="3207343" y="3066181"/>
            <a:ext cx="816884" cy="719418"/>
          </a:xfrm>
          <a:prstGeom prst="rect">
            <a:avLst/>
          </a:prstGeom>
          <a:solidFill>
            <a:srgbClr val="076B76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M</a:t>
            </a:r>
          </a:p>
        </p:txBody>
      </p:sp>
      <p:sp>
        <p:nvSpPr>
          <p:cNvPr id="10" name="Rectangle 9"/>
          <p:cNvSpPr/>
          <p:nvPr/>
        </p:nvSpPr>
        <p:spPr>
          <a:xfrm>
            <a:off x="4070314" y="3066181"/>
            <a:ext cx="816884" cy="412043"/>
          </a:xfrm>
          <a:prstGeom prst="rect">
            <a:avLst/>
          </a:prstGeom>
          <a:solidFill>
            <a:srgbClr val="076B76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M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931125" y="3066181"/>
            <a:ext cx="816884" cy="412043"/>
          </a:xfrm>
          <a:prstGeom prst="rect">
            <a:avLst/>
          </a:prstGeom>
          <a:solidFill>
            <a:srgbClr val="076B76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M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70314" y="3538467"/>
            <a:ext cx="816884" cy="247132"/>
          </a:xfrm>
          <a:prstGeom prst="rect">
            <a:avLst/>
          </a:prstGeom>
          <a:gradFill rotWithShape="1">
            <a:gsLst>
              <a:gs pos="0">
                <a:srgbClr val="303030">
                  <a:lumMod val="75000"/>
                </a:srgbClr>
              </a:gs>
              <a:gs pos="100000">
                <a:srgbClr val="303030">
                  <a:lumMod val="60000"/>
                  <a:lumOff val="40000"/>
                </a:srgb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931125" y="3538467"/>
            <a:ext cx="816884" cy="258059"/>
          </a:xfrm>
          <a:prstGeom prst="rect">
            <a:avLst/>
          </a:prstGeom>
          <a:gradFill rotWithShape="1">
            <a:gsLst>
              <a:gs pos="0">
                <a:srgbClr val="303030">
                  <a:lumMod val="75000"/>
                </a:srgbClr>
              </a:gs>
              <a:gs pos="100000">
                <a:srgbClr val="303030">
                  <a:lumMod val="60000"/>
                  <a:lumOff val="40000"/>
                </a:srgb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M</a:t>
            </a:r>
          </a:p>
        </p:txBody>
      </p:sp>
      <p:sp>
        <p:nvSpPr>
          <p:cNvPr id="14" name="Chevron 13"/>
          <p:cNvSpPr/>
          <p:nvPr/>
        </p:nvSpPr>
        <p:spPr>
          <a:xfrm>
            <a:off x="6556828" y="1794205"/>
            <a:ext cx="1225826" cy="719418"/>
          </a:xfrm>
          <a:prstGeom prst="chevron">
            <a:avLst>
              <a:gd name="adj" fmla="val 51792"/>
            </a:avLst>
          </a:prstGeom>
          <a:gradFill rotWithShape="1">
            <a:gsLst>
              <a:gs pos="0">
                <a:sysClr val="window" lastClr="FFFFFF">
                  <a:lumMod val="65000"/>
                </a:sysClr>
              </a:gs>
              <a:gs pos="100000">
                <a:sysClr val="window" lastClr="FFFFFF">
                  <a:lumMod val="85000"/>
                </a:sys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>
              <a:defRPr/>
            </a:pPr>
            <a:endParaRPr lang="en-GB" sz="105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5791934" y="3055255"/>
            <a:ext cx="2004861" cy="741270"/>
          </a:xfrm>
          <a:prstGeom prst="homePlate">
            <a:avLst/>
          </a:prstGeom>
          <a:solidFill>
            <a:sysClr val="windowText" lastClr="000000">
              <a:lumMod val="75000"/>
              <a:lumOff val="25000"/>
            </a:sys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algn="ctr">
              <a:defRPr/>
            </a:pPr>
            <a:r>
              <a:rPr lang="en-GB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M</a:t>
            </a:r>
          </a:p>
        </p:txBody>
      </p:sp>
      <p:sp>
        <p:nvSpPr>
          <p:cNvPr id="16" name="Pentagon 15"/>
          <p:cNvSpPr/>
          <p:nvPr/>
        </p:nvSpPr>
        <p:spPr>
          <a:xfrm>
            <a:off x="3207342" y="4255942"/>
            <a:ext cx="4605019" cy="853241"/>
          </a:xfrm>
          <a:prstGeom prst="homePlate">
            <a:avLst/>
          </a:prstGeom>
          <a:solidFill>
            <a:sysClr val="windowText" lastClr="000000">
              <a:lumMod val="50000"/>
              <a:lumOff val="50000"/>
            </a:sys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b"/>
          <a:lstStyle/>
          <a:p>
            <a:pPr algn="ctr">
              <a:defRPr/>
            </a:pPr>
            <a:endParaRPr lang="en-GB" sz="105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416027" y="1538790"/>
            <a:ext cx="389965" cy="1230941"/>
          </a:xfrm>
          <a:prstGeom prst="rect">
            <a:avLst/>
          </a:prstGeom>
          <a:gradFill rotWithShape="1">
            <a:gsLst>
              <a:gs pos="0">
                <a:srgbClr val="726056">
                  <a:shade val="51000"/>
                  <a:satMod val="130000"/>
                </a:srgbClr>
              </a:gs>
              <a:gs pos="80000">
                <a:srgbClr val="726056">
                  <a:shade val="93000"/>
                  <a:satMod val="130000"/>
                </a:srgbClr>
              </a:gs>
              <a:gs pos="100000">
                <a:srgbClr val="72605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vert="vert270" rtlCol="0" anchor="ctr"/>
          <a:lstStyle/>
          <a:p>
            <a:pPr algn="ctr">
              <a:defRPr/>
            </a:pPr>
            <a:r>
              <a:rPr lang="en-GB" sz="90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16027" y="2815838"/>
            <a:ext cx="389965" cy="1230941"/>
          </a:xfrm>
          <a:prstGeom prst="rect">
            <a:avLst/>
          </a:prstGeom>
          <a:gradFill rotWithShape="1">
            <a:gsLst>
              <a:gs pos="0">
                <a:srgbClr val="726056">
                  <a:shade val="51000"/>
                  <a:satMod val="130000"/>
                </a:srgbClr>
              </a:gs>
              <a:gs pos="80000">
                <a:srgbClr val="726056">
                  <a:shade val="93000"/>
                  <a:satMod val="130000"/>
                </a:srgbClr>
              </a:gs>
              <a:gs pos="100000">
                <a:srgbClr val="72605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vert="vert270" rtlCol="0" anchor="ctr"/>
          <a:lstStyle/>
          <a:p>
            <a:pPr algn="ctr">
              <a:defRPr/>
            </a:pPr>
            <a:r>
              <a:rPr lang="en-GB" sz="90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ing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16027" y="4092887"/>
            <a:ext cx="389965" cy="1230941"/>
          </a:xfrm>
          <a:prstGeom prst="rect">
            <a:avLst/>
          </a:prstGeom>
          <a:gradFill rotWithShape="1">
            <a:gsLst>
              <a:gs pos="0">
                <a:srgbClr val="726056">
                  <a:shade val="51000"/>
                  <a:satMod val="130000"/>
                </a:srgbClr>
              </a:gs>
              <a:gs pos="80000">
                <a:srgbClr val="726056">
                  <a:shade val="93000"/>
                  <a:satMod val="130000"/>
                </a:srgbClr>
              </a:gs>
              <a:gs pos="100000">
                <a:srgbClr val="72605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vert="vert270" rtlCol="0" anchor="ctr"/>
          <a:lstStyle/>
          <a:p>
            <a:pPr algn="ctr">
              <a:defRPr/>
            </a:pPr>
            <a:r>
              <a:rPr lang="en-GB" sz="90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ing</a:t>
            </a:r>
          </a:p>
        </p:txBody>
      </p:sp>
      <p:sp>
        <p:nvSpPr>
          <p:cNvPr id="20" name="Rounded Rectangular Callout 19"/>
          <p:cNvSpPr/>
          <p:nvPr/>
        </p:nvSpPr>
        <p:spPr>
          <a:xfrm>
            <a:off x="4103351" y="2484606"/>
            <a:ext cx="787900" cy="497541"/>
          </a:xfrm>
          <a:prstGeom prst="wedgeRoundRectCallout">
            <a:avLst>
              <a:gd name="adj1" fmla="val 2615"/>
              <a:gd name="adj2" fmla="val 82010"/>
              <a:gd name="adj3" fmla="val 16667"/>
            </a:avLst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r>
              <a:rPr lang="en-GB" sz="9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build required for Transition</a:t>
            </a:r>
          </a:p>
        </p:txBody>
      </p:sp>
      <p:sp>
        <p:nvSpPr>
          <p:cNvPr id="21" name="Up-Down Arrow 20"/>
          <p:cNvSpPr/>
          <p:nvPr/>
        </p:nvSpPr>
        <p:spPr>
          <a:xfrm>
            <a:off x="4347486" y="3785599"/>
            <a:ext cx="275665" cy="470342"/>
          </a:xfrm>
          <a:prstGeom prst="upDownArrow">
            <a:avLst/>
          </a:prstGeom>
          <a:gradFill rotWithShape="1">
            <a:gsLst>
              <a:gs pos="0">
                <a:sysClr val="windowText" lastClr="000000">
                  <a:shade val="51000"/>
                  <a:satMod val="130000"/>
                </a:sysClr>
              </a:gs>
              <a:gs pos="80000">
                <a:sysClr val="windowText" lastClr="000000">
                  <a:shade val="93000"/>
                  <a:satMod val="130000"/>
                </a:sysClr>
              </a:gs>
              <a:gs pos="100000">
                <a:sysClr val="windowText" lastClr="000000">
                  <a:shade val="94000"/>
                  <a:satMod val="135000"/>
                </a:sys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134541" algn="ctr">
              <a:defRPr/>
            </a:pPr>
            <a:endParaRPr lang="en-GB" sz="90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Up-Down Arrow 21"/>
          <p:cNvSpPr/>
          <p:nvPr/>
        </p:nvSpPr>
        <p:spPr>
          <a:xfrm>
            <a:off x="5187927" y="3785599"/>
            <a:ext cx="275665" cy="470342"/>
          </a:xfrm>
          <a:prstGeom prst="upDownArrow">
            <a:avLst/>
          </a:prstGeom>
          <a:gradFill rotWithShape="1">
            <a:gsLst>
              <a:gs pos="0">
                <a:sysClr val="windowText" lastClr="000000">
                  <a:shade val="51000"/>
                  <a:satMod val="130000"/>
                </a:sysClr>
              </a:gs>
              <a:gs pos="80000">
                <a:sysClr val="windowText" lastClr="000000">
                  <a:shade val="93000"/>
                  <a:satMod val="130000"/>
                </a:sysClr>
              </a:gs>
              <a:gs pos="100000">
                <a:sysClr val="windowText" lastClr="000000">
                  <a:shade val="94000"/>
                  <a:satMod val="135000"/>
                </a:sys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134541" algn="ctr">
              <a:defRPr/>
            </a:pPr>
            <a:endParaRPr lang="en-GB" sz="90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ounded Rectangular Callout 22"/>
          <p:cNvSpPr/>
          <p:nvPr/>
        </p:nvSpPr>
        <p:spPr>
          <a:xfrm>
            <a:off x="4942045" y="2473685"/>
            <a:ext cx="1108898" cy="497541"/>
          </a:xfrm>
          <a:prstGeom prst="wedgeRoundRectCallout">
            <a:avLst>
              <a:gd name="adj1" fmla="val -35519"/>
              <a:gd name="adj2" fmla="val 78716"/>
              <a:gd name="adj3" fmla="val 16667"/>
            </a:avLst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r>
              <a:rPr lang="en-GB" sz="9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build required for Transformation</a:t>
            </a:r>
          </a:p>
        </p:txBody>
      </p:sp>
      <p:sp>
        <p:nvSpPr>
          <p:cNvPr id="24" name="Up-Down Arrow 23"/>
          <p:cNvSpPr/>
          <p:nvPr/>
        </p:nvSpPr>
        <p:spPr>
          <a:xfrm>
            <a:off x="6556830" y="3785599"/>
            <a:ext cx="275665" cy="470342"/>
          </a:xfrm>
          <a:prstGeom prst="upDownArrow">
            <a:avLst/>
          </a:prstGeom>
          <a:gradFill rotWithShape="1">
            <a:gsLst>
              <a:gs pos="0">
                <a:sysClr val="windowText" lastClr="000000">
                  <a:shade val="51000"/>
                  <a:satMod val="130000"/>
                </a:sysClr>
              </a:gs>
              <a:gs pos="80000">
                <a:sysClr val="windowText" lastClr="000000">
                  <a:shade val="93000"/>
                  <a:satMod val="130000"/>
                </a:sysClr>
              </a:gs>
              <a:gs pos="100000">
                <a:sysClr val="windowText" lastClr="000000">
                  <a:shade val="94000"/>
                  <a:satMod val="135000"/>
                </a:sys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134541" algn="ctr">
              <a:defRPr/>
            </a:pPr>
            <a:endParaRPr lang="en-GB" sz="90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151892" y="3077106"/>
            <a:ext cx="938555" cy="2032076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ales</a:t>
            </a:r>
          </a:p>
        </p:txBody>
      </p:sp>
      <p:sp>
        <p:nvSpPr>
          <p:cNvPr id="26" name="Up-Down Arrow 25"/>
          <p:cNvSpPr/>
          <p:nvPr/>
        </p:nvSpPr>
        <p:spPr>
          <a:xfrm rot="16200000">
            <a:off x="3011063" y="3196137"/>
            <a:ext cx="275665" cy="470342"/>
          </a:xfrm>
          <a:prstGeom prst="upDownArrow">
            <a:avLst/>
          </a:prstGeom>
          <a:gradFill rotWithShape="1">
            <a:gsLst>
              <a:gs pos="0">
                <a:sysClr val="windowText" lastClr="000000">
                  <a:shade val="51000"/>
                  <a:satMod val="130000"/>
                </a:sysClr>
              </a:gs>
              <a:gs pos="80000">
                <a:sysClr val="windowText" lastClr="000000">
                  <a:shade val="93000"/>
                  <a:satMod val="130000"/>
                </a:sysClr>
              </a:gs>
              <a:gs pos="100000">
                <a:sysClr val="windowText" lastClr="000000">
                  <a:shade val="94000"/>
                  <a:satMod val="135000"/>
                </a:sys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134541" algn="ctr">
              <a:defRPr/>
            </a:pPr>
            <a:endParaRPr lang="en-GB" sz="90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3030497" y="2484606"/>
            <a:ext cx="1001142" cy="497541"/>
          </a:xfrm>
          <a:prstGeom prst="wedgeRoundRectCallout">
            <a:avLst>
              <a:gd name="adj1" fmla="val 25225"/>
              <a:gd name="adj2" fmla="val 76266"/>
              <a:gd name="adj3" fmla="val 16667"/>
            </a:avLst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r>
              <a:rPr lang="en-GB" sz="9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Transition</a:t>
            </a:r>
          </a:p>
          <a:p>
            <a:pPr algn="ctr">
              <a:defRPr/>
            </a:pPr>
            <a:r>
              <a:rPr lang="en-GB" sz="9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o new build required)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207343" y="4255941"/>
            <a:ext cx="816884" cy="621235"/>
          </a:xfrm>
          <a:prstGeom prst="rect">
            <a:avLst/>
          </a:prstGeom>
          <a:gradFill rotWithShape="1">
            <a:gsLst>
              <a:gs pos="0">
                <a:srgbClr val="DEDEE0">
                  <a:lumMod val="25000"/>
                </a:srgbClr>
              </a:gs>
              <a:gs pos="100000">
                <a:srgbClr val="DEDEE0">
                  <a:lumMod val="50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&amp;B</a:t>
            </a:r>
          </a:p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</a:rPr>
              <a:t>Activities</a:t>
            </a:r>
            <a:endParaRPr lang="en-US" sz="105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Up-Down Arrow 28"/>
          <p:cNvSpPr/>
          <p:nvPr/>
        </p:nvSpPr>
        <p:spPr>
          <a:xfrm>
            <a:off x="3472773" y="3785598"/>
            <a:ext cx="275665" cy="470342"/>
          </a:xfrm>
          <a:prstGeom prst="upDownArrow">
            <a:avLst/>
          </a:prstGeom>
          <a:gradFill rotWithShape="1">
            <a:gsLst>
              <a:gs pos="0">
                <a:sysClr val="windowText" lastClr="000000">
                  <a:shade val="51000"/>
                  <a:satMod val="130000"/>
                </a:sysClr>
              </a:gs>
              <a:gs pos="80000">
                <a:sysClr val="windowText" lastClr="000000">
                  <a:shade val="93000"/>
                  <a:satMod val="130000"/>
                </a:sysClr>
              </a:gs>
              <a:gs pos="100000">
                <a:sysClr val="windowText" lastClr="000000">
                  <a:shade val="94000"/>
                  <a:satMod val="135000"/>
                </a:sys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134541" algn="ctr">
              <a:defRPr/>
            </a:pPr>
            <a:endParaRPr lang="en-GB" sz="90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077944" y="4255941"/>
            <a:ext cx="816884" cy="621235"/>
          </a:xfrm>
          <a:prstGeom prst="rect">
            <a:avLst/>
          </a:prstGeom>
          <a:gradFill rotWithShape="1">
            <a:gsLst>
              <a:gs pos="0">
                <a:srgbClr val="DEDEE0">
                  <a:lumMod val="25000"/>
                </a:srgbClr>
              </a:gs>
              <a:gs pos="100000">
                <a:srgbClr val="DEDEE0">
                  <a:lumMod val="50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&amp;B</a:t>
            </a:r>
          </a:p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</a:rPr>
              <a:t>Activities</a:t>
            </a:r>
            <a:endParaRPr lang="en-US" sz="105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937311" y="4255940"/>
            <a:ext cx="816884" cy="621235"/>
          </a:xfrm>
          <a:prstGeom prst="rect">
            <a:avLst/>
          </a:prstGeom>
          <a:gradFill rotWithShape="1">
            <a:gsLst>
              <a:gs pos="0">
                <a:srgbClr val="DEDEE0">
                  <a:lumMod val="25000"/>
                </a:srgbClr>
              </a:gs>
              <a:gs pos="100000">
                <a:srgbClr val="DEDEE0">
                  <a:lumMod val="50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&amp;B</a:t>
            </a:r>
          </a:p>
          <a:p>
            <a:pPr algn="ctr"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anose="020B0604020202020204" pitchFamily="34" charset="0"/>
              </a:rPr>
              <a:t>Activities</a:t>
            </a:r>
            <a:endParaRPr lang="en-US" sz="1050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931709" y="1944392"/>
            <a:ext cx="76944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050" kern="0" dirty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ady Stat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6145909" y="4546138"/>
            <a:ext cx="105990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GB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&amp;O Activiti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37591" y="5323829"/>
            <a:ext cx="29351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spc="-30" dirty="0">
                <a:solidFill>
                  <a:schemeClr val="tx2"/>
                </a:solidFill>
              </a:rPr>
              <a:t>PMM = Project Management Methodology  </a:t>
            </a:r>
          </a:p>
          <a:p>
            <a:r>
              <a:rPr lang="en-US" sz="1200" b="1" i="1" spc="-30" dirty="0">
                <a:solidFill>
                  <a:schemeClr val="tx2"/>
                </a:solidFill>
              </a:rPr>
              <a:t>DBM = Design and Build Methodology </a:t>
            </a:r>
          </a:p>
          <a:p>
            <a:r>
              <a:rPr lang="en-US" sz="1200" b="1" i="1" spc="-30" dirty="0">
                <a:solidFill>
                  <a:schemeClr val="tx2"/>
                </a:solidFill>
              </a:rPr>
              <a:t>SMM = Service Management Methodology  </a:t>
            </a:r>
            <a:endParaRPr lang="en-SG" sz="1200" b="1" i="1" spc="-3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810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ogramme</a:t>
            </a:r>
            <a:r>
              <a:rPr lang="en-US" dirty="0" smtClean="0"/>
              <a:t> Governance</a:t>
            </a:r>
            <a:endParaRPr lang="en-SG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4047433" y="2954201"/>
            <a:ext cx="11906" cy="2228850"/>
          </a:xfrm>
          <a:prstGeom prst="line">
            <a:avLst/>
          </a:prstGeom>
          <a:noFill/>
          <a:ln w="38100" cap="flat" cmpd="sng" algn="ctr">
            <a:solidFill>
              <a:srgbClr val="323232"/>
            </a:solidFill>
            <a:prstDash val="solid"/>
          </a:ln>
          <a:effectLst/>
        </p:spPr>
      </p:cxnSp>
      <p:sp>
        <p:nvSpPr>
          <p:cNvPr id="25" name="Rounded Rectangle 24"/>
          <p:cNvSpPr/>
          <p:nvPr/>
        </p:nvSpPr>
        <p:spPr>
          <a:xfrm>
            <a:off x="5868145" y="2668451"/>
            <a:ext cx="1016327" cy="857250"/>
          </a:xfrm>
          <a:prstGeom prst="roundRect">
            <a:avLst/>
          </a:prstGeom>
          <a:solidFill>
            <a:srgbClr val="FFD8D8">
              <a:lumMod val="75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SG" sz="12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2532957" y="2497001"/>
            <a:ext cx="3028950" cy="1200150"/>
          </a:xfrm>
          <a:prstGeom prst="round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SG" sz="12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2554388" y="4047195"/>
            <a:ext cx="3028950" cy="1218010"/>
          </a:xfrm>
          <a:prstGeom prst="roundRect">
            <a:avLst/>
          </a:prstGeom>
          <a:solidFill>
            <a:srgbClr val="FFD8D8">
              <a:lumMod val="75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SG" sz="12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1223629" y="2668451"/>
            <a:ext cx="1016327" cy="857250"/>
          </a:xfrm>
          <a:prstGeom prst="round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SG" sz="12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904432" y="4513921"/>
            <a:ext cx="2371725" cy="61198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214313" indent="-214313">
              <a:buFont typeface="Arial" pitchFamily="34" charset="0"/>
              <a:buChar char="•"/>
              <a:defRPr/>
            </a:pPr>
            <a:r>
              <a:rPr lang="en-US" sz="1050" kern="0" dirty="0">
                <a:solidFill>
                  <a:srgbClr val="323232"/>
                </a:solidFill>
                <a:latin typeface="Calibri"/>
                <a:ea typeface="宋体"/>
              </a:rPr>
              <a:t>Tactical</a:t>
            </a:r>
          </a:p>
          <a:p>
            <a:pPr marL="214313" indent="-214313">
              <a:buFont typeface="Arial" pitchFamily="34" charset="0"/>
              <a:buChar char="•"/>
              <a:defRPr/>
            </a:pPr>
            <a:r>
              <a:rPr lang="en-US" sz="1050" kern="0" dirty="0">
                <a:solidFill>
                  <a:srgbClr val="323232"/>
                </a:solidFill>
                <a:latin typeface="Calibri"/>
                <a:ea typeface="宋体"/>
              </a:rPr>
              <a:t>Execution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847282" y="2897050"/>
            <a:ext cx="2371725" cy="653654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214313" indent="-214313">
              <a:buFont typeface="Arial" pitchFamily="34" charset="0"/>
              <a:buChar char="•"/>
              <a:defRPr/>
            </a:pPr>
            <a:r>
              <a:rPr lang="en-US" sz="1050" kern="0" dirty="0">
                <a:solidFill>
                  <a:srgbClr val="323232"/>
                </a:solidFill>
                <a:latin typeface="Calibri"/>
                <a:ea typeface="宋体"/>
              </a:rPr>
              <a:t>Strategic Direction</a:t>
            </a:r>
          </a:p>
          <a:p>
            <a:pPr marL="214313" indent="-214313">
              <a:buFont typeface="Arial" pitchFamily="34" charset="0"/>
              <a:buChar char="•"/>
              <a:defRPr/>
            </a:pPr>
            <a:r>
              <a:rPr lang="en-US" sz="1050" kern="0" dirty="0">
                <a:solidFill>
                  <a:srgbClr val="323232"/>
                </a:solidFill>
                <a:latin typeface="Calibri"/>
                <a:ea typeface="宋体"/>
              </a:rPr>
              <a:t>Conflict / Issue Resolution</a:t>
            </a:r>
          </a:p>
          <a:p>
            <a:pPr marL="214313" indent="-214313">
              <a:buFont typeface="Arial" pitchFamily="34" charset="0"/>
              <a:buChar char="•"/>
              <a:defRPr/>
            </a:pPr>
            <a:r>
              <a:rPr lang="en-US" sz="1050" kern="0" dirty="0">
                <a:solidFill>
                  <a:srgbClr val="323232"/>
                </a:solidFill>
                <a:latin typeface="Calibri"/>
                <a:ea typeface="宋体"/>
              </a:rPr>
              <a:t>Risk Resolution</a:t>
            </a:r>
            <a:endParaRPr lang="en-SG" sz="1050" kern="0" dirty="0">
              <a:solidFill>
                <a:srgbClr val="323232"/>
              </a:solidFill>
              <a:latin typeface="Calibri"/>
              <a:ea typeface="宋体"/>
            </a:endParaRPr>
          </a:p>
        </p:txBody>
      </p:sp>
      <p:sp>
        <p:nvSpPr>
          <p:cNvPr id="31" name="TextBox 5"/>
          <p:cNvSpPr txBox="1">
            <a:spLocks noChangeArrowheads="1"/>
          </p:cNvSpPr>
          <p:nvPr/>
        </p:nvSpPr>
        <p:spPr bwMode="auto">
          <a:xfrm>
            <a:off x="2532957" y="2497000"/>
            <a:ext cx="3028950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sz="1350" kern="0" dirty="0">
                <a:solidFill>
                  <a:sysClr val="window" lastClr="FFFFFF"/>
                </a:solidFill>
              </a:rPr>
              <a:t>Program Steering Committee</a:t>
            </a:r>
            <a:endParaRPr lang="en-SG" sz="1350" kern="0" dirty="0">
              <a:solidFill>
                <a:sysClr val="window" lastClr="FFFFFF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273183" y="2834934"/>
            <a:ext cx="895336" cy="51766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050" kern="0" dirty="0">
                <a:solidFill>
                  <a:srgbClr val="323232"/>
                </a:solidFill>
                <a:latin typeface="Calibri"/>
                <a:ea typeface="宋体"/>
              </a:rPr>
              <a:t>CapitaLand Senior Management</a:t>
            </a:r>
            <a:endParaRPr lang="en-SG" sz="1050" kern="0" dirty="0">
              <a:solidFill>
                <a:srgbClr val="323232"/>
              </a:solidFill>
              <a:latin typeface="Calibri"/>
              <a:ea typeface="宋体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917699" y="2834934"/>
            <a:ext cx="895336" cy="51766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050" kern="0" dirty="0">
                <a:solidFill>
                  <a:srgbClr val="323232"/>
                </a:solidFill>
                <a:latin typeface="Calibri"/>
                <a:ea typeface="宋体"/>
              </a:rPr>
              <a:t>Singtel Senior Management</a:t>
            </a:r>
            <a:endParaRPr lang="en-SG" sz="1050" kern="0" dirty="0">
              <a:solidFill>
                <a:srgbClr val="323232"/>
              </a:solidFill>
              <a:latin typeface="Calibri"/>
              <a:ea typeface="宋体"/>
            </a:endParaRPr>
          </a:p>
        </p:txBody>
      </p:sp>
      <p:sp>
        <p:nvSpPr>
          <p:cNvPr id="34" name="TextBox 5"/>
          <p:cNvSpPr txBox="1">
            <a:spLocks noChangeArrowheads="1"/>
          </p:cNvSpPr>
          <p:nvPr/>
        </p:nvSpPr>
        <p:spPr bwMode="auto">
          <a:xfrm>
            <a:off x="2532957" y="4097200"/>
            <a:ext cx="3028950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entury Gothic" pitchFamily="34" charset="0"/>
                <a:ea typeface="SimSun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sz="1350" kern="0" dirty="0">
                <a:solidFill>
                  <a:srgbClr val="FFFF00"/>
                </a:solidFill>
              </a:rPr>
              <a:t>Project Management Committee</a:t>
            </a:r>
            <a:endParaRPr lang="en-SG" sz="1350" kern="0" dirty="0">
              <a:solidFill>
                <a:srgbClr val="FFFF00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868145" y="4218644"/>
            <a:ext cx="1016327" cy="857250"/>
          </a:xfrm>
          <a:prstGeom prst="roundRect">
            <a:avLst/>
          </a:prstGeom>
          <a:solidFill>
            <a:srgbClr val="FFD8D8">
              <a:lumMod val="75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SG" sz="12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917699" y="4290082"/>
            <a:ext cx="895336" cy="74295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r>
              <a:rPr lang="en-US" sz="1050" kern="0" dirty="0">
                <a:solidFill>
                  <a:srgbClr val="323232"/>
                </a:solidFill>
                <a:latin typeface="Calibri"/>
                <a:ea typeface="宋体"/>
              </a:rPr>
              <a:t>Singtel</a:t>
            </a:r>
            <a:r>
              <a:rPr lang="en-US" sz="900" kern="0" dirty="0">
                <a:solidFill>
                  <a:srgbClr val="323232"/>
                </a:solidFill>
                <a:latin typeface="Calibri"/>
                <a:ea typeface="宋体"/>
              </a:rPr>
              <a:t/>
            </a:r>
            <a:br>
              <a:rPr lang="en-US" sz="900" kern="0" dirty="0">
                <a:solidFill>
                  <a:srgbClr val="323232"/>
                </a:solidFill>
                <a:latin typeface="Calibri"/>
                <a:ea typeface="宋体"/>
              </a:rPr>
            </a:br>
            <a:r>
              <a:rPr lang="en-US" sz="900" kern="0" dirty="0">
                <a:solidFill>
                  <a:srgbClr val="323232"/>
                </a:solidFill>
                <a:latin typeface="Calibri"/>
                <a:ea typeface="宋体"/>
              </a:rPr>
              <a:t>- Project Board Members</a:t>
            </a:r>
            <a:endParaRPr lang="en-SG" sz="900" kern="0" dirty="0">
              <a:solidFill>
                <a:srgbClr val="323232"/>
              </a:solidFill>
              <a:latin typeface="Calibri"/>
              <a:ea typeface="宋体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1223629" y="4211501"/>
            <a:ext cx="1016327" cy="857250"/>
          </a:xfrm>
          <a:prstGeom prst="round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SG" sz="1200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281855" y="4252577"/>
            <a:ext cx="874162" cy="70961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r>
              <a:rPr lang="en-US" sz="1050" kern="0" dirty="0">
                <a:solidFill>
                  <a:srgbClr val="323232"/>
                </a:solidFill>
                <a:latin typeface="Calibri"/>
                <a:ea typeface="宋体"/>
              </a:rPr>
              <a:t>CapitaLand</a:t>
            </a:r>
          </a:p>
          <a:p>
            <a:pPr>
              <a:defRPr/>
            </a:pPr>
            <a:r>
              <a:rPr lang="en-US" sz="900" kern="0" dirty="0">
                <a:solidFill>
                  <a:srgbClr val="323232"/>
                </a:solidFill>
                <a:latin typeface="Calibri"/>
                <a:ea typeface="宋体"/>
              </a:rPr>
              <a:t>- Project Board Member</a:t>
            </a:r>
            <a:endParaRPr lang="en-SG" sz="900" kern="0" dirty="0">
              <a:solidFill>
                <a:srgbClr val="323232"/>
              </a:solidFill>
              <a:latin typeface="Calibri"/>
              <a:ea typeface="宋体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2222545" y="4611551"/>
            <a:ext cx="342900" cy="0"/>
          </a:xfrm>
          <a:prstGeom prst="line">
            <a:avLst/>
          </a:prstGeom>
          <a:noFill/>
          <a:ln w="38100" cap="flat" cmpd="sng" algn="ctr">
            <a:solidFill>
              <a:srgbClr val="323232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40" name="Right Arrow 39"/>
          <p:cNvSpPr/>
          <p:nvPr/>
        </p:nvSpPr>
        <p:spPr>
          <a:xfrm>
            <a:off x="1223628" y="1376772"/>
            <a:ext cx="6777372" cy="1696662"/>
          </a:xfrm>
          <a:prstGeom prst="rightArrow">
            <a:avLst/>
          </a:prstGeom>
          <a:solidFill>
            <a:srgbClr val="DEDEE0">
              <a:lumMod val="50000"/>
            </a:srgbClr>
          </a:solidFill>
          <a:ln w="25400" cap="flat" cmpd="sng" algn="ctr">
            <a:solidFill>
              <a:srgbClr val="726056">
                <a:lumMod val="40000"/>
                <a:lumOff val="60000"/>
              </a:srgbClr>
            </a:solidFill>
            <a:prstDash val="solid"/>
          </a:ln>
          <a:effectLst/>
          <a:scene3d>
            <a:camera prst="perspectiveFront">
              <a:rot lat="6000000" lon="0" rev="0"/>
            </a:camera>
            <a:lightRig rig="balanced" dir="t"/>
          </a:scene3d>
          <a:sp3d contourW="12700">
            <a:bevelT w="57150" h="209550"/>
            <a:contourClr>
              <a:srgbClr val="303030">
                <a:lumMod val="25000"/>
                <a:lumOff val="75000"/>
              </a:srgbClr>
            </a:contourClr>
          </a:sp3d>
        </p:spPr>
        <p:txBody>
          <a:bodyPr anchor="ctr"/>
          <a:lstStyle/>
          <a:p>
            <a:pPr algn="ctr">
              <a:defRPr/>
            </a:pPr>
            <a:endParaRPr lang="en-US" sz="1200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1331640" y="1615272"/>
            <a:ext cx="5526360" cy="463578"/>
          </a:xfrm>
          <a:prstGeom prst="roundRect">
            <a:avLst/>
          </a:prstGeom>
          <a:solidFill>
            <a:srgbClr val="E20031"/>
          </a:solidFill>
          <a:ln w="25400" cap="flat" cmpd="sng" algn="ctr">
            <a:solidFill>
              <a:srgbClr val="E20031">
                <a:shade val="50000"/>
              </a:srgbClr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152400" h="88900" prst="artDeco"/>
          </a:sp3d>
        </p:spPr>
        <p:txBody>
          <a:bodyPr anchor="ctr"/>
          <a:lstStyle/>
          <a:p>
            <a:pPr algn="ctr">
              <a:defRPr/>
            </a:pPr>
            <a:r>
              <a:rPr lang="en-US" sz="1050" b="1" kern="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TRANSITION / STEADY STATE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5547015" y="4617132"/>
            <a:ext cx="342900" cy="0"/>
          </a:xfrm>
          <a:prstGeom prst="line">
            <a:avLst/>
          </a:prstGeom>
          <a:noFill/>
          <a:ln w="38100" cap="flat" cmpd="sng" algn="ctr">
            <a:solidFill>
              <a:srgbClr val="323232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43" name="Straight Connector 42"/>
          <p:cNvCxnSpPr/>
          <p:nvPr/>
        </p:nvCxnSpPr>
        <p:spPr>
          <a:xfrm>
            <a:off x="5544108" y="3050958"/>
            <a:ext cx="342900" cy="0"/>
          </a:xfrm>
          <a:prstGeom prst="line">
            <a:avLst/>
          </a:prstGeom>
          <a:noFill/>
          <a:ln w="38100" cap="flat" cmpd="sng" algn="ctr">
            <a:solidFill>
              <a:srgbClr val="323232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44" name="Straight Connector 43"/>
          <p:cNvCxnSpPr/>
          <p:nvPr/>
        </p:nvCxnSpPr>
        <p:spPr>
          <a:xfrm>
            <a:off x="2230878" y="3050958"/>
            <a:ext cx="342900" cy="0"/>
          </a:xfrm>
          <a:prstGeom prst="line">
            <a:avLst/>
          </a:prstGeom>
          <a:noFill/>
          <a:ln w="38100" cap="flat" cmpd="sng" algn="ctr">
            <a:solidFill>
              <a:srgbClr val="323232"/>
            </a:solidFill>
            <a:prstDash val="solid"/>
            <a:headEnd type="triangle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4153474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pic>
        <p:nvPicPr>
          <p:cNvPr id="34" name="Picture 4" descr="http://image.architonic.com/imgArc/project-1/4/5202792/wilkinson-eyre-garden-bythebay-413p546-h-06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483" t="10298" r="21370"/>
          <a:stretch/>
        </p:blipFill>
        <p:spPr bwMode="auto">
          <a:xfrm>
            <a:off x="103027" y="540913"/>
            <a:ext cx="5190189" cy="5653825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ound Single Corner Rectangle 34"/>
          <p:cNvSpPr/>
          <p:nvPr/>
        </p:nvSpPr>
        <p:spPr>
          <a:xfrm>
            <a:off x="4739425" y="787400"/>
            <a:ext cx="4092815" cy="5184576"/>
          </a:xfrm>
          <a:prstGeom prst="round1Rect">
            <a:avLst/>
          </a:prstGeom>
          <a:solidFill>
            <a:srgbClr val="ED1D2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ntroduc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Transition &amp; Transformation Plan</a:t>
            </a:r>
          </a:p>
          <a:p>
            <a:pPr marL="752231" lvl="1" indent="-285750">
              <a:buFont typeface="Wingdings" panose="05000000000000000000" pitchFamily="2" charset="2"/>
              <a:buChar char="v"/>
            </a:pPr>
            <a:r>
              <a:rPr lang="en-US" dirty="0"/>
              <a:t>Transition Schedule</a:t>
            </a:r>
          </a:p>
          <a:p>
            <a:pPr marL="752231" lvl="1" indent="-285750">
              <a:buFont typeface="Wingdings" panose="05000000000000000000" pitchFamily="2" charset="2"/>
              <a:buChar char="v"/>
            </a:pPr>
            <a:r>
              <a:rPr lang="en-US" dirty="0"/>
              <a:t>Stabilization </a:t>
            </a:r>
            <a:r>
              <a:rPr lang="en-US" dirty="0" smtClean="0"/>
              <a:t>Schedule</a:t>
            </a:r>
            <a:endParaRPr lang="en-US" dirty="0"/>
          </a:p>
          <a:p>
            <a:pPr marL="752231" lvl="1" indent="-285750">
              <a:buFont typeface="Wingdings" panose="05000000000000000000" pitchFamily="2" charset="2"/>
              <a:buChar char="v"/>
            </a:pPr>
            <a:r>
              <a:rPr lang="en-US" dirty="0"/>
              <a:t>Transformation </a:t>
            </a:r>
            <a:r>
              <a:rPr lang="en-US" dirty="0" smtClean="0"/>
              <a:t>Schedule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Solutions Review</a:t>
            </a:r>
          </a:p>
          <a:p>
            <a:pPr marL="752231" lvl="1" indent="-285750">
              <a:buFont typeface="Wingdings" panose="05000000000000000000" pitchFamily="2" charset="2"/>
              <a:buChar char="v"/>
            </a:pPr>
            <a:r>
              <a:rPr lang="en-US" dirty="0"/>
              <a:t>Architecture Review</a:t>
            </a:r>
          </a:p>
          <a:p>
            <a:pPr marL="752231" lvl="1" indent="-285750">
              <a:buFont typeface="Wingdings" panose="05000000000000000000" pitchFamily="2" charset="2"/>
              <a:buChar char="v"/>
            </a:pPr>
            <a:r>
              <a:rPr lang="en-US" dirty="0"/>
              <a:t>People, Process, Tool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ject Governance</a:t>
            </a:r>
          </a:p>
          <a:p>
            <a:pPr marL="752231" lvl="1" indent="-285750">
              <a:buFont typeface="Wingdings" panose="05000000000000000000" pitchFamily="2" charset="2"/>
              <a:buChar char="v"/>
            </a:pPr>
            <a:r>
              <a:rPr lang="en-US" dirty="0"/>
              <a:t>Project Steering Committee</a:t>
            </a:r>
          </a:p>
          <a:p>
            <a:pPr marL="752231" lvl="1" indent="-285750">
              <a:buFont typeface="Wingdings" panose="05000000000000000000" pitchFamily="2" charset="2"/>
              <a:buChar char="v"/>
            </a:pPr>
            <a:r>
              <a:rPr lang="en-US" dirty="0"/>
              <a:t>Transition Organization</a:t>
            </a:r>
          </a:p>
          <a:p>
            <a:pPr marL="752231" lvl="1" indent="-285750">
              <a:buFont typeface="Wingdings" panose="05000000000000000000" pitchFamily="2" charset="2"/>
              <a:buChar char="v"/>
            </a:pPr>
            <a:r>
              <a:rPr lang="en-US" dirty="0"/>
              <a:t>Operating Rhyth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Key Milestones &amp; </a:t>
            </a:r>
            <a:r>
              <a:rPr lang="en-US" dirty="0" smtClean="0"/>
              <a:t>Deliverab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40985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1572187" y="4288987"/>
            <a:ext cx="5995986" cy="114587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SG" sz="900"/>
          </a:p>
        </p:txBody>
      </p:sp>
      <p:sp>
        <p:nvSpPr>
          <p:cNvPr id="43" name="Text Box 8"/>
          <p:cNvSpPr txBox="1">
            <a:spLocks noChangeArrowheads="1"/>
          </p:cNvSpPr>
          <p:nvPr/>
        </p:nvSpPr>
        <p:spPr bwMode="auto">
          <a:xfrm>
            <a:off x="1572187" y="4288987"/>
            <a:ext cx="822960" cy="1145876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900" dirty="0"/>
              <a:t>Operational Level</a:t>
            </a:r>
            <a:endParaRPr lang="en-SG" sz="900" dirty="0"/>
          </a:p>
        </p:txBody>
      </p:sp>
      <p:sp>
        <p:nvSpPr>
          <p:cNvPr id="60" name="AutoShape 3"/>
          <p:cNvSpPr>
            <a:spLocks noChangeArrowheads="1"/>
          </p:cNvSpPr>
          <p:nvPr/>
        </p:nvSpPr>
        <p:spPr bwMode="auto">
          <a:xfrm>
            <a:off x="1572187" y="1616916"/>
            <a:ext cx="5995986" cy="114587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/>
            <a:endParaRPr lang="en-SG" sz="900"/>
          </a:p>
        </p:txBody>
      </p:sp>
      <p:sp>
        <p:nvSpPr>
          <p:cNvPr id="61" name="Text Box 6"/>
          <p:cNvSpPr txBox="1">
            <a:spLocks noChangeArrowheads="1"/>
          </p:cNvSpPr>
          <p:nvPr/>
        </p:nvSpPr>
        <p:spPr bwMode="auto">
          <a:xfrm>
            <a:off x="1572187" y="1616916"/>
            <a:ext cx="822960" cy="1145876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900" dirty="0"/>
              <a:t>Strategic Level</a:t>
            </a:r>
            <a:endParaRPr lang="en-SG" sz="900" dirty="0"/>
          </a:p>
        </p:txBody>
      </p:sp>
      <p:sp>
        <p:nvSpPr>
          <p:cNvPr id="33" name="AutoShape 4"/>
          <p:cNvSpPr>
            <a:spLocks noChangeArrowheads="1"/>
          </p:cNvSpPr>
          <p:nvPr/>
        </p:nvSpPr>
        <p:spPr bwMode="auto">
          <a:xfrm>
            <a:off x="1572187" y="2952952"/>
            <a:ext cx="5995986" cy="114587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SG" sz="900"/>
          </a:p>
        </p:txBody>
      </p:sp>
      <p:sp>
        <p:nvSpPr>
          <p:cNvPr id="34" name="Text Box 7"/>
          <p:cNvSpPr txBox="1">
            <a:spLocks noChangeArrowheads="1"/>
          </p:cNvSpPr>
          <p:nvPr/>
        </p:nvSpPr>
        <p:spPr bwMode="auto">
          <a:xfrm>
            <a:off x="1572187" y="2952952"/>
            <a:ext cx="822960" cy="1145876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900" dirty="0"/>
              <a:t>Tactical Level</a:t>
            </a:r>
            <a:endParaRPr lang="en-SG" sz="900" dirty="0"/>
          </a:p>
        </p:txBody>
      </p:sp>
      <p:sp>
        <p:nvSpPr>
          <p:cNvPr id="27" name="AutoShape 48"/>
          <p:cNvSpPr>
            <a:spLocks noChangeArrowheads="1"/>
          </p:cNvSpPr>
          <p:nvPr/>
        </p:nvSpPr>
        <p:spPr bwMode="auto">
          <a:xfrm>
            <a:off x="5066481" y="2124942"/>
            <a:ext cx="742898" cy="2446140"/>
          </a:xfrm>
          <a:prstGeom prst="upArrow">
            <a:avLst>
              <a:gd name="adj1" fmla="val 70000"/>
              <a:gd name="adj2" fmla="val 37678"/>
            </a:avLst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28" name="Text Box 49"/>
          <p:cNvSpPr txBox="1">
            <a:spLocks noChangeArrowheads="1"/>
          </p:cNvSpPr>
          <p:nvPr/>
        </p:nvSpPr>
        <p:spPr bwMode="auto">
          <a:xfrm rot="16200000">
            <a:off x="5057057" y="3163347"/>
            <a:ext cx="7617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Status &amp;</a:t>
            </a:r>
          </a:p>
          <a:p>
            <a:pPr algn="ctr"/>
            <a:r>
              <a:rPr lang="en-US" sz="900" b="1" dirty="0">
                <a:solidFill>
                  <a:schemeClr val="bg1"/>
                </a:solidFill>
              </a:rPr>
              <a:t>Escalation</a:t>
            </a:r>
            <a:endParaRPr lang="en-SG" sz="900" b="1" dirty="0">
              <a:solidFill>
                <a:schemeClr val="bg1"/>
              </a:solidFill>
            </a:endParaRPr>
          </a:p>
        </p:txBody>
      </p:sp>
      <p:sp>
        <p:nvSpPr>
          <p:cNvPr id="22" name="Rectangle 16"/>
          <p:cNvSpPr>
            <a:spLocks noChangeArrowheads="1"/>
          </p:cNvSpPr>
          <p:nvPr/>
        </p:nvSpPr>
        <p:spPr bwMode="auto">
          <a:xfrm>
            <a:off x="6719832" y="3851949"/>
            <a:ext cx="840024" cy="340499"/>
          </a:xfrm>
          <a:prstGeom prst="rect">
            <a:avLst/>
          </a:prstGeom>
          <a:gradFill>
            <a:gsLst>
              <a:gs pos="0">
                <a:schemeClr val="accent4">
                  <a:lumMod val="82000"/>
                </a:schemeClr>
              </a:gs>
              <a:gs pos="100000">
                <a:schemeClr val="accent4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24" name="Rectangle 18"/>
          <p:cNvSpPr>
            <a:spLocks noChangeArrowheads="1"/>
          </p:cNvSpPr>
          <p:nvPr/>
        </p:nvSpPr>
        <p:spPr bwMode="auto">
          <a:xfrm>
            <a:off x="6693926" y="3885999"/>
            <a:ext cx="840024" cy="340499"/>
          </a:xfrm>
          <a:prstGeom prst="rect">
            <a:avLst/>
          </a:prstGeom>
          <a:gradFill>
            <a:gsLst>
              <a:gs pos="0">
                <a:schemeClr val="accent2">
                  <a:lumMod val="82000"/>
                </a:schemeClr>
              </a:gs>
              <a:gs pos="100000">
                <a:schemeClr val="accent2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21" name="Text Box 19"/>
          <p:cNvSpPr txBox="1">
            <a:spLocks noChangeArrowheads="1"/>
          </p:cNvSpPr>
          <p:nvPr/>
        </p:nvSpPr>
        <p:spPr bwMode="auto">
          <a:xfrm>
            <a:off x="6748094" y="3915706"/>
            <a:ext cx="73011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900" dirty="0">
                <a:solidFill>
                  <a:schemeClr val="bg1"/>
                </a:solidFill>
              </a:rPr>
              <a:t>Innovation</a:t>
            </a:r>
          </a:p>
          <a:p>
            <a:r>
              <a:rPr lang="en-US" sz="900" dirty="0">
                <a:solidFill>
                  <a:schemeClr val="bg1"/>
                </a:solidFill>
              </a:rPr>
              <a:t>Office</a:t>
            </a:r>
            <a:endParaRPr lang="en-SG" sz="9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571" y="375830"/>
            <a:ext cx="6595585" cy="4154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2700" b="1" spc="-38" dirty="0">
                <a:solidFill>
                  <a:srgbClr val="D50000"/>
                </a:solidFill>
              </a:rPr>
              <a:t>Governance</a:t>
            </a:r>
            <a:endParaRPr lang="en-SG" sz="2700" b="1" spc="-38" dirty="0">
              <a:solidFill>
                <a:srgbClr val="D50000"/>
              </a:solidFill>
            </a:endParaRPr>
          </a:p>
        </p:txBody>
      </p:sp>
      <p:sp>
        <p:nvSpPr>
          <p:cNvPr id="57" name="Rectangle 25"/>
          <p:cNvSpPr>
            <a:spLocks noChangeArrowheads="1"/>
          </p:cNvSpPr>
          <p:nvPr/>
        </p:nvSpPr>
        <p:spPr bwMode="auto">
          <a:xfrm>
            <a:off x="4290048" y="4609275"/>
            <a:ext cx="1380037" cy="459363"/>
          </a:xfrm>
          <a:prstGeom prst="rect">
            <a:avLst/>
          </a:prstGeom>
          <a:gradFill>
            <a:gsLst>
              <a:gs pos="0">
                <a:schemeClr val="accent4">
                  <a:lumMod val="82000"/>
                </a:schemeClr>
              </a:gs>
              <a:gs pos="100000">
                <a:schemeClr val="accent4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52" name="Rectangle 31"/>
          <p:cNvSpPr>
            <a:spLocks noChangeArrowheads="1"/>
          </p:cNvSpPr>
          <p:nvPr/>
        </p:nvSpPr>
        <p:spPr bwMode="auto">
          <a:xfrm>
            <a:off x="2742344" y="4609277"/>
            <a:ext cx="1380037" cy="459364"/>
          </a:xfrm>
          <a:prstGeom prst="rect">
            <a:avLst/>
          </a:prstGeom>
          <a:gradFill>
            <a:gsLst>
              <a:gs pos="0">
                <a:schemeClr val="accent4">
                  <a:lumMod val="82000"/>
                </a:schemeClr>
              </a:gs>
              <a:gs pos="100000">
                <a:schemeClr val="accent4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59" name="Rectangle 27"/>
          <p:cNvSpPr>
            <a:spLocks noChangeArrowheads="1"/>
          </p:cNvSpPr>
          <p:nvPr/>
        </p:nvSpPr>
        <p:spPr bwMode="auto">
          <a:xfrm>
            <a:off x="4247487" y="4655211"/>
            <a:ext cx="1378747" cy="459363"/>
          </a:xfrm>
          <a:prstGeom prst="rect">
            <a:avLst/>
          </a:prstGeom>
          <a:gradFill>
            <a:gsLst>
              <a:gs pos="0">
                <a:schemeClr val="accent2">
                  <a:lumMod val="82000"/>
                </a:schemeClr>
              </a:gs>
              <a:gs pos="100000">
                <a:schemeClr val="accent2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56" name="Text Box 28"/>
          <p:cNvSpPr txBox="1">
            <a:spLocks noChangeArrowheads="1"/>
          </p:cNvSpPr>
          <p:nvPr/>
        </p:nvSpPr>
        <p:spPr bwMode="auto">
          <a:xfrm>
            <a:off x="4393288" y="4674389"/>
            <a:ext cx="1085854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900" dirty="0">
                <a:solidFill>
                  <a:schemeClr val="bg1"/>
                </a:solidFill>
              </a:rPr>
              <a:t>Operation Management &amp; Service Delivery</a:t>
            </a:r>
            <a:endParaRPr lang="en-SG" sz="900" dirty="0">
              <a:solidFill>
                <a:schemeClr val="bg1"/>
              </a:solidFill>
            </a:endParaRPr>
          </a:p>
        </p:txBody>
      </p:sp>
      <p:sp>
        <p:nvSpPr>
          <p:cNvPr id="54" name="Rectangle 33"/>
          <p:cNvSpPr>
            <a:spLocks noChangeArrowheads="1"/>
          </p:cNvSpPr>
          <p:nvPr/>
        </p:nvSpPr>
        <p:spPr bwMode="auto">
          <a:xfrm>
            <a:off x="2699782" y="4655213"/>
            <a:ext cx="1378747" cy="459364"/>
          </a:xfrm>
          <a:prstGeom prst="rect">
            <a:avLst/>
          </a:prstGeom>
          <a:gradFill>
            <a:gsLst>
              <a:gs pos="0">
                <a:schemeClr val="accent2">
                  <a:lumMod val="82000"/>
                </a:schemeClr>
              </a:gs>
              <a:gs pos="100000">
                <a:schemeClr val="accent2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51" name="Text Box 34"/>
          <p:cNvSpPr txBox="1">
            <a:spLocks noChangeArrowheads="1"/>
          </p:cNvSpPr>
          <p:nvPr/>
        </p:nvSpPr>
        <p:spPr bwMode="auto">
          <a:xfrm>
            <a:off x="2845584" y="4674388"/>
            <a:ext cx="1085854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900" dirty="0">
                <a:solidFill>
                  <a:schemeClr val="bg1"/>
                </a:solidFill>
              </a:rPr>
              <a:t>Implementation Management</a:t>
            </a:r>
          </a:p>
          <a:p>
            <a:r>
              <a:rPr lang="en-US" sz="900" dirty="0">
                <a:solidFill>
                  <a:schemeClr val="bg1"/>
                </a:solidFill>
              </a:rPr>
              <a:t>Committee</a:t>
            </a:r>
            <a:endParaRPr lang="en-SG" sz="900" dirty="0">
              <a:solidFill>
                <a:schemeClr val="bg1"/>
              </a:solidFill>
            </a:endParaRPr>
          </a:p>
        </p:txBody>
      </p:sp>
      <p:cxnSp>
        <p:nvCxnSpPr>
          <p:cNvPr id="73" name="Elbow Connector 72"/>
          <p:cNvCxnSpPr>
            <a:stCxn id="66" idx="2"/>
            <a:endCxn id="39" idx="0"/>
          </p:cNvCxnSpPr>
          <p:nvPr/>
        </p:nvCxnSpPr>
        <p:spPr>
          <a:xfrm flipH="1">
            <a:off x="4235082" y="2343078"/>
            <a:ext cx="2092" cy="995538"/>
          </a:xfrm>
          <a:prstGeom prst="straightConnector1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16"/>
          <p:cNvSpPr>
            <a:spLocks noChangeArrowheads="1"/>
          </p:cNvSpPr>
          <p:nvPr/>
        </p:nvSpPr>
        <p:spPr bwMode="auto">
          <a:xfrm>
            <a:off x="3547154" y="2002579"/>
            <a:ext cx="1380039" cy="340499"/>
          </a:xfrm>
          <a:prstGeom prst="rect">
            <a:avLst/>
          </a:prstGeom>
          <a:gradFill>
            <a:gsLst>
              <a:gs pos="0">
                <a:schemeClr val="accent4">
                  <a:lumMod val="82000"/>
                </a:schemeClr>
              </a:gs>
              <a:gs pos="100000">
                <a:schemeClr val="accent4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79" name="Rectangle 18"/>
          <p:cNvSpPr>
            <a:spLocks noChangeArrowheads="1"/>
          </p:cNvSpPr>
          <p:nvPr/>
        </p:nvSpPr>
        <p:spPr bwMode="auto">
          <a:xfrm>
            <a:off x="3504592" y="2036629"/>
            <a:ext cx="1378749" cy="340499"/>
          </a:xfrm>
          <a:prstGeom prst="rect">
            <a:avLst/>
          </a:prstGeom>
          <a:gradFill>
            <a:gsLst>
              <a:gs pos="0">
                <a:schemeClr val="accent2">
                  <a:lumMod val="82000"/>
                </a:schemeClr>
              </a:gs>
              <a:gs pos="100000">
                <a:schemeClr val="accent2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80" name="Text Box 19"/>
          <p:cNvSpPr txBox="1">
            <a:spLocks noChangeArrowheads="1"/>
          </p:cNvSpPr>
          <p:nvPr/>
        </p:nvSpPr>
        <p:spPr bwMode="auto">
          <a:xfrm>
            <a:off x="3537364" y="2066337"/>
            <a:ext cx="131191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Steering</a:t>
            </a:r>
          </a:p>
          <a:p>
            <a:pPr algn="ctr"/>
            <a:r>
              <a:rPr lang="en-US" sz="900" b="1" dirty="0">
                <a:solidFill>
                  <a:schemeClr val="bg1"/>
                </a:solidFill>
              </a:rPr>
              <a:t>Committee</a:t>
            </a:r>
            <a:endParaRPr lang="en-SG" sz="900" b="1" dirty="0">
              <a:solidFill>
                <a:schemeClr val="bg1"/>
              </a:solidFill>
            </a:endParaRPr>
          </a:p>
        </p:txBody>
      </p:sp>
      <p:cxnSp>
        <p:nvCxnSpPr>
          <p:cNvPr id="81" name="Elbow Connector 72"/>
          <p:cNvCxnSpPr>
            <a:stCxn id="39" idx="2"/>
            <a:endCxn id="52" idx="0"/>
          </p:cNvCxnSpPr>
          <p:nvPr/>
        </p:nvCxnSpPr>
        <p:spPr>
          <a:xfrm rot="5400000">
            <a:off x="3368641" y="3742836"/>
            <a:ext cx="930162" cy="802720"/>
          </a:xfrm>
          <a:prstGeom prst="bentConnector3">
            <a:avLst>
              <a:gd name="adj1" fmla="val 55174"/>
            </a:avLst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72"/>
          <p:cNvCxnSpPr>
            <a:stCxn id="39" idx="2"/>
            <a:endCxn id="57" idx="0"/>
          </p:cNvCxnSpPr>
          <p:nvPr/>
        </p:nvCxnSpPr>
        <p:spPr>
          <a:xfrm rot="16200000" flipH="1">
            <a:off x="4142494" y="3771702"/>
            <a:ext cx="930161" cy="744985"/>
          </a:xfrm>
          <a:prstGeom prst="bentConnector3">
            <a:avLst>
              <a:gd name="adj1" fmla="val 55174"/>
            </a:avLst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7"/>
          <p:cNvSpPr>
            <a:spLocks noChangeArrowheads="1"/>
          </p:cNvSpPr>
          <p:nvPr/>
        </p:nvSpPr>
        <p:spPr bwMode="auto">
          <a:xfrm>
            <a:off x="3610876" y="3338617"/>
            <a:ext cx="1248411" cy="340498"/>
          </a:xfrm>
          <a:prstGeom prst="rect">
            <a:avLst/>
          </a:prstGeom>
          <a:gradFill>
            <a:gsLst>
              <a:gs pos="0">
                <a:schemeClr val="accent4">
                  <a:lumMod val="82000"/>
                </a:schemeClr>
              </a:gs>
              <a:gs pos="100000">
                <a:schemeClr val="accent4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88" name="Rectangle 39"/>
          <p:cNvSpPr>
            <a:spLocks noChangeArrowheads="1"/>
          </p:cNvSpPr>
          <p:nvPr/>
        </p:nvSpPr>
        <p:spPr bwMode="auto">
          <a:xfrm>
            <a:off x="3572374" y="3372667"/>
            <a:ext cx="1247244" cy="340498"/>
          </a:xfrm>
          <a:prstGeom prst="rect">
            <a:avLst/>
          </a:prstGeom>
          <a:gradFill>
            <a:gsLst>
              <a:gs pos="0">
                <a:schemeClr val="accent2">
                  <a:lumMod val="82000"/>
                </a:schemeClr>
              </a:gs>
              <a:gs pos="100000">
                <a:schemeClr val="accent2"/>
              </a:gs>
            </a:gsLst>
            <a:lin ang="162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900" b="1">
              <a:solidFill>
                <a:schemeClr val="bg1"/>
              </a:solidFill>
            </a:endParaRPr>
          </a:p>
        </p:txBody>
      </p:sp>
      <p:sp>
        <p:nvSpPr>
          <p:cNvPr id="89" name="Text Box 40"/>
          <p:cNvSpPr txBox="1">
            <a:spLocks noChangeArrowheads="1"/>
          </p:cNvSpPr>
          <p:nvPr/>
        </p:nvSpPr>
        <p:spPr bwMode="auto">
          <a:xfrm>
            <a:off x="3636000" y="3402373"/>
            <a:ext cx="111882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900" dirty="0">
                <a:solidFill>
                  <a:schemeClr val="bg1"/>
                </a:solidFill>
              </a:rPr>
              <a:t>Management</a:t>
            </a:r>
          </a:p>
          <a:p>
            <a:r>
              <a:rPr lang="en-US" sz="900" dirty="0">
                <a:solidFill>
                  <a:schemeClr val="bg1"/>
                </a:solidFill>
              </a:rPr>
              <a:t>Committee</a:t>
            </a:r>
            <a:endParaRPr lang="en-SG" sz="900" dirty="0">
              <a:solidFill>
                <a:schemeClr val="bg1"/>
              </a:solidFill>
            </a:endParaRPr>
          </a:p>
        </p:txBody>
      </p:sp>
      <p:sp>
        <p:nvSpPr>
          <p:cNvPr id="3" name="Rectangle 5"/>
          <p:cNvSpPr txBox="1"/>
          <p:nvPr/>
        </p:nvSpPr>
        <p:spPr>
          <a:xfrm>
            <a:off x="5889231" y="1726559"/>
            <a:ext cx="1576364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900" dirty="0">
                <a:ea typeface="+mn-ea"/>
                <a:cs typeface="+mn-cs"/>
              </a:rPr>
              <a:t>Strategic Alignment to Business Goals</a:t>
            </a:r>
          </a:p>
          <a:p>
            <a:pPr lvl="1">
              <a:spcBef>
                <a:spcPct val="50000"/>
              </a:spcBef>
            </a:pPr>
            <a:r>
              <a:rPr lang="en-US" sz="900" dirty="0">
                <a:ea typeface="+mn-ea"/>
                <a:cs typeface="+mn-cs"/>
              </a:rPr>
              <a:t>Set IT Direction &amp; Goals</a:t>
            </a:r>
          </a:p>
        </p:txBody>
      </p:sp>
      <p:sp>
        <p:nvSpPr>
          <p:cNvPr id="9" name="Rectangle 9"/>
          <p:cNvSpPr txBox="1"/>
          <p:nvPr/>
        </p:nvSpPr>
        <p:spPr>
          <a:xfrm>
            <a:off x="5889231" y="3058635"/>
            <a:ext cx="157636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900" dirty="0">
                <a:ea typeface="+mn-ea"/>
                <a:cs typeface="+mn-cs"/>
              </a:rPr>
              <a:t>Translating Strategies into Action Plans</a:t>
            </a:r>
          </a:p>
          <a:p>
            <a:pPr lvl="1">
              <a:spcBef>
                <a:spcPct val="50000"/>
              </a:spcBef>
            </a:pPr>
            <a:r>
              <a:rPr lang="en-US" sz="900" dirty="0">
                <a:ea typeface="+mn-ea"/>
                <a:cs typeface="+mn-cs"/>
              </a:rPr>
              <a:t>Contract Management</a:t>
            </a:r>
          </a:p>
          <a:p>
            <a:pPr lvl="1">
              <a:spcBef>
                <a:spcPct val="50000"/>
              </a:spcBef>
            </a:pPr>
            <a:r>
              <a:rPr lang="en-US" sz="900" dirty="0">
                <a:ea typeface="+mn-ea"/>
                <a:cs typeface="+mn-cs"/>
              </a:rPr>
              <a:t>Technical &amp; Delivery Leadership</a:t>
            </a:r>
          </a:p>
        </p:txBody>
      </p:sp>
      <p:sp>
        <p:nvSpPr>
          <p:cNvPr id="13" name="Rectangle 13"/>
          <p:cNvSpPr txBox="1"/>
          <p:nvPr/>
        </p:nvSpPr>
        <p:spPr>
          <a:xfrm>
            <a:off x="5889231" y="4395635"/>
            <a:ext cx="157636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900" dirty="0">
                <a:ea typeface="+mn-ea"/>
                <a:cs typeface="+mn-cs"/>
              </a:rPr>
              <a:t>Infrastructure Support &amp; Maintenance</a:t>
            </a:r>
          </a:p>
          <a:p>
            <a:pPr lvl="1">
              <a:spcBef>
                <a:spcPct val="50000"/>
              </a:spcBef>
            </a:pPr>
            <a:r>
              <a:rPr lang="en-US" sz="900" dirty="0">
                <a:ea typeface="+mn-ea"/>
                <a:cs typeface="+mn-cs"/>
              </a:rPr>
              <a:t>Service Request Management</a:t>
            </a:r>
          </a:p>
          <a:p>
            <a:pPr lvl="1">
              <a:spcBef>
                <a:spcPct val="50000"/>
              </a:spcBef>
            </a:pPr>
            <a:r>
              <a:rPr lang="en-US" sz="900" dirty="0">
                <a:ea typeface="+mn-ea"/>
                <a:cs typeface="+mn-cs"/>
              </a:rPr>
              <a:t>Transition Management</a:t>
            </a:r>
          </a:p>
        </p:txBody>
      </p:sp>
    </p:spTree>
    <p:extLst>
      <p:ext uri="{BB962C8B-B14F-4D97-AF65-F5344CB8AC3E}">
        <p14:creationId xmlns:p14="http://schemas.microsoft.com/office/powerpoint/2010/main" val="2984459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/>
              <a:t>Steering Committee</a:t>
            </a:r>
            <a:endParaRPr lang="en-US" dirty="0"/>
          </a:p>
        </p:txBody>
      </p:sp>
      <p:graphicFrame>
        <p:nvGraphicFramePr>
          <p:cNvPr id="6" name="Diagram 5"/>
          <p:cNvGraphicFramePr/>
          <p:nvPr>
            <p:extLst/>
          </p:nvPr>
        </p:nvGraphicFramePr>
        <p:xfrm>
          <a:off x="291786" y="1176793"/>
          <a:ext cx="8128000" cy="48147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868618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Transition </a:t>
            </a:r>
            <a:r>
              <a:rPr lang="en-US" dirty="0" err="1"/>
              <a:t>Organisation</a:t>
            </a:r>
            <a:r>
              <a:rPr lang="en-US" dirty="0"/>
              <a:t> Chart (INFRA &amp; EUC)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3298" y="1070318"/>
            <a:ext cx="8933180" cy="4846240"/>
            <a:chOff x="63298" y="1070318"/>
            <a:chExt cx="8933180" cy="4846240"/>
          </a:xfrm>
        </p:grpSpPr>
        <p:sp>
          <p:nvSpPr>
            <p:cNvPr id="8" name="Rounded Rectangle 7"/>
            <p:cNvSpPr/>
            <p:nvPr/>
          </p:nvSpPr>
          <p:spPr>
            <a:xfrm>
              <a:off x="63298" y="3530600"/>
              <a:ext cx="8933180" cy="2385958"/>
            </a:xfrm>
            <a:prstGeom prst="roundRect">
              <a:avLst>
                <a:gd name="adj" fmla="val 3827"/>
              </a:avLst>
            </a:prstGeom>
            <a:solidFill>
              <a:srgbClr val="FEF0F2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en-US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Operations</a:t>
              </a: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63298" y="2451100"/>
              <a:ext cx="8933180" cy="1079500"/>
            </a:xfrm>
            <a:prstGeom prst="roundRect">
              <a:avLst>
                <a:gd name="adj" fmla="val 772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en-US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hared Resources</a:t>
              </a: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63298" y="1070318"/>
              <a:ext cx="8933180" cy="1380782"/>
            </a:xfrm>
            <a:prstGeom prst="roundRect">
              <a:avLst>
                <a:gd name="adj" fmla="val 4681"/>
              </a:avLst>
            </a:prstGeom>
            <a:solidFill>
              <a:srgbClr val="FEF0F2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en-US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Governance</a:t>
              </a:r>
            </a:p>
          </p:txBody>
        </p:sp>
      </p:grpSp>
      <p:graphicFrame>
        <p:nvGraphicFramePr>
          <p:cNvPr id="5" name="Diagram 5"/>
          <p:cNvGraphicFramePr/>
          <p:nvPr>
            <p:extLst/>
          </p:nvPr>
        </p:nvGraphicFramePr>
        <p:xfrm>
          <a:off x="63298" y="-456379"/>
          <a:ext cx="8069250" cy="6284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71625" y="3192608"/>
            <a:ext cx="11916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18 x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72518" y="3188605"/>
            <a:ext cx="1199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1 x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72059" y="4723579"/>
            <a:ext cx="1199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4 x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581934" y="4723579"/>
            <a:ext cx="1199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20 x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467884" y="4723579"/>
            <a:ext cx="1199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4 x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765890" y="4723579"/>
            <a:ext cx="1199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5 x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243137" y="4706841"/>
            <a:ext cx="1199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6 x</a:t>
            </a:r>
          </a:p>
        </p:txBody>
      </p:sp>
    </p:spTree>
    <p:extLst>
      <p:ext uri="{BB962C8B-B14F-4D97-AF65-F5344CB8AC3E}">
        <p14:creationId xmlns:p14="http://schemas.microsoft.com/office/powerpoint/2010/main" val="23724924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rating Rhyth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2517" y="966067"/>
            <a:ext cx="8686800" cy="4955203"/>
          </a:xfrm>
        </p:spPr>
        <p:txBody>
          <a:bodyPr/>
          <a:lstStyle/>
          <a:p>
            <a:r>
              <a:rPr lang="en-US" b="1" dirty="0"/>
              <a:t>Weekly Transition Meeting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dirty="0"/>
              <a:t>Project team to meet on a weekly basis to discuss on the progress, share updates, upcoming tasks and resolve issues.</a:t>
            </a:r>
          </a:p>
          <a:p>
            <a:pPr marL="483357" lvl="1" indent="-285750">
              <a:buFontTx/>
              <a:buChar char="-"/>
            </a:pPr>
            <a:endParaRPr lang="en-US" sz="1800" b="1" dirty="0"/>
          </a:p>
          <a:p>
            <a:pPr marL="483357" lvl="1" indent="-285750">
              <a:buFontTx/>
              <a:buChar char="-"/>
            </a:pPr>
            <a:r>
              <a:rPr lang="en-US" sz="1800" b="1" dirty="0"/>
              <a:t>EUC Weekly Status Meeting</a:t>
            </a:r>
          </a:p>
          <a:p>
            <a:pPr lvl="2" indent="0">
              <a:buNone/>
            </a:pPr>
            <a:r>
              <a:rPr lang="en-US" sz="1800" dirty="0"/>
              <a:t>[2:00PM-3:30PM], Every Monday &amp; Thursday)</a:t>
            </a:r>
          </a:p>
          <a:p>
            <a:pPr marL="483357" lvl="1" indent="-285750">
              <a:buFontTx/>
              <a:buChar char="-"/>
            </a:pPr>
            <a:endParaRPr lang="en-US" sz="1800" b="1" dirty="0"/>
          </a:p>
          <a:p>
            <a:pPr marL="483357" lvl="1" indent="-285750">
              <a:buFontTx/>
              <a:buChar char="-"/>
            </a:pPr>
            <a:r>
              <a:rPr lang="en-US" sz="1800" b="1" dirty="0"/>
              <a:t>Infra Weekly Status Meeting</a:t>
            </a:r>
          </a:p>
          <a:p>
            <a:pPr lvl="2" indent="0">
              <a:buNone/>
            </a:pPr>
            <a:r>
              <a:rPr lang="en-US" sz="1800" dirty="0"/>
              <a:t>[2:00PM-3:30PM], Every Tuesday &amp; Friday)</a:t>
            </a:r>
          </a:p>
          <a:p>
            <a:endParaRPr lang="en-US" dirty="0"/>
          </a:p>
          <a:p>
            <a:endParaRPr lang="en-US" dirty="0"/>
          </a:p>
          <a:p>
            <a:r>
              <a:rPr lang="en-US" b="1" dirty="0"/>
              <a:t>Steering Committee Meeting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dirty="0"/>
              <a:t>Steering Committee meeting will be called for when there are any road blocks / show stoppers / critical challenges faced by the Project team and for key decision making (budget approval, phase closure sign off etc.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988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Communication Plan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173038" y="1033665"/>
          <a:ext cx="8778240" cy="4567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6562">
                  <a:extLst>
                    <a:ext uri="{9D8B030D-6E8A-4147-A177-3AD203B41FA5}">
                      <a16:colId xmlns:a16="http://schemas.microsoft.com/office/drawing/2014/main" xmlns="" val="543994884"/>
                    </a:ext>
                  </a:extLst>
                </a:gridCol>
                <a:gridCol w="2197100">
                  <a:extLst>
                    <a:ext uri="{9D8B030D-6E8A-4147-A177-3AD203B41FA5}">
                      <a16:colId xmlns:a16="http://schemas.microsoft.com/office/drawing/2014/main" xmlns="" val="3597010016"/>
                    </a:ext>
                  </a:extLst>
                </a:gridCol>
                <a:gridCol w="1765300">
                  <a:extLst>
                    <a:ext uri="{9D8B030D-6E8A-4147-A177-3AD203B41FA5}">
                      <a16:colId xmlns:a16="http://schemas.microsoft.com/office/drawing/2014/main" xmlns="" val="1691252343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xmlns="" val="3439518344"/>
                    </a:ext>
                  </a:extLst>
                </a:gridCol>
                <a:gridCol w="1623378">
                  <a:extLst>
                    <a:ext uri="{9D8B030D-6E8A-4147-A177-3AD203B41FA5}">
                      <a16:colId xmlns:a16="http://schemas.microsoft.com/office/drawing/2014/main" xmlns="" val="3816617059"/>
                    </a:ext>
                  </a:extLst>
                </a:gridCol>
              </a:tblGrid>
              <a:tr h="9094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RPOS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KEHOLDER</a:t>
                      </a:r>
                    </a:p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AUDIENCE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 &amp; SCHEDU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HOD OF COMMUNICATION / MEDIU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397148247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marL="197607" lvl="1" indent="0">
                        <a:buFontTx/>
                        <a:buNone/>
                      </a:pP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UC Weekly Status Meeting (SG)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171450" lvl="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discuss on the progress</a:t>
                      </a:r>
                    </a:p>
                    <a:p>
                      <a:pPr marL="171450" lvl="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e updates</a:t>
                      </a:r>
                    </a:p>
                    <a:p>
                      <a:pPr marL="171450" lvl="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ck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ilestone</a:t>
                      </a:r>
                    </a:p>
                    <a:p>
                      <a:pPr marL="171450" lvl="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coming tasks</a:t>
                      </a:r>
                    </a:p>
                    <a:p>
                      <a:pPr marL="171450" lvl="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olve issue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tel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Yeo, Tristan, Alphonsus, James</a:t>
                      </a:r>
                    </a:p>
                    <a:p>
                      <a:pPr algn="l" fontAlgn="b"/>
                      <a:endParaRPr lang="en-US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and – Wai Pin, Peter, Kar Siong, Kok Soon, Gan Seng, Ethan</a:t>
                      </a:r>
                    </a:p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2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ekly.</a:t>
                      </a:r>
                    </a:p>
                    <a:p>
                      <a:pPr marL="0" marR="0" lvl="2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ry Monday &amp; Thursday</a:t>
                      </a:r>
                    </a:p>
                    <a:p>
                      <a:pPr marL="0" marR="0" lvl="2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[2:00PM-3:30PM]</a:t>
                      </a:r>
                    </a:p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Ø"/>
                      </a:pPr>
                      <a:r>
                        <a:rPr lang="fi-FI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</a:t>
                      </a:r>
                      <a:r>
                        <a:rPr lang="fi-FI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to-face meeting</a:t>
                      </a:r>
                    </a:p>
                    <a:p>
                      <a:pPr marL="171450" marR="0" indent="-171450" algn="l" defTabSz="93296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fi-FI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Ex</a:t>
                      </a:r>
                      <a:endParaRPr lang="fi-FI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2996844183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marL="197607" lvl="1" indent="0">
                        <a:buFontTx/>
                        <a:buNone/>
                      </a:pP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ra Weekly Status Meeting (SG &amp; CN)</a:t>
                      </a:r>
                    </a:p>
                    <a:p>
                      <a:pPr marL="197607" lvl="1" indent="0">
                        <a:buFontTx/>
                        <a:buNone/>
                      </a:pP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discuss on the progress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e updates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ck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ilestone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coming tasks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olve issues</a:t>
                      </a:r>
                    </a:p>
                    <a:p>
                      <a:pPr algn="l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tel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Yeo, David, James</a:t>
                      </a:r>
                    </a:p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and – Susie, Sean, Soon Seng, Li Yang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2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ekly.</a:t>
                      </a:r>
                    </a:p>
                    <a:p>
                      <a:pPr marL="0" marR="0" lvl="2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ry Tuesday &amp; Friday</a:t>
                      </a:r>
                    </a:p>
                    <a:p>
                      <a:pPr marL="0" marR="0" lvl="2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2:00PM-3:30PM]</a:t>
                      </a:r>
                    </a:p>
                    <a:p>
                      <a:pPr marL="0" marR="0" lvl="2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Ø"/>
                      </a:pPr>
                      <a:r>
                        <a:rPr lang="fi-FI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</a:t>
                      </a:r>
                      <a:r>
                        <a:rPr lang="fi-FI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to-face meeting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Ø"/>
                      </a:pPr>
                      <a:r>
                        <a:rPr lang="fi-FI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Ex</a:t>
                      </a:r>
                      <a:endParaRPr lang="fi-FI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357288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0729346"/>
      </p:ext>
    </p:extLst>
  </p:cSld>
  <p:clrMapOvr>
    <a:masterClrMapping/>
  </p:clrMapOvr>
  <p:transition spd="med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76332" y="1151514"/>
            <a:ext cx="5524332" cy="547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3" name="Rectangle 7"/>
          <p:cNvSpPr>
            <a:spLocks/>
          </p:cNvSpPr>
          <p:nvPr/>
        </p:nvSpPr>
        <p:spPr bwMode="auto">
          <a:xfrm>
            <a:off x="2057400" y="2286001"/>
            <a:ext cx="161904" cy="446276"/>
          </a:xfrm>
          <a:prstGeom prst="rect">
            <a:avLst/>
          </a:prstGeom>
          <a:noFill/>
          <a:ln w="12700" cap="rnd">
            <a:noFill/>
            <a:round/>
            <a:headEnd type="none" w="med" len="med"/>
            <a:tailEnd type="none" w="med" len="med"/>
          </a:ln>
        </p:spPr>
        <p:txBody>
          <a:bodyPr wrap="none" lIns="38100" tIns="38100" rIns="38100" bIns="3810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solidFill>
                  <a:srgbClr val="32323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-106" charset="-128"/>
                <a:cs typeface="Arial" charset="0"/>
                <a:sym typeface="Arial" charset="0"/>
              </a:rPr>
              <a:t> </a:t>
            </a:r>
          </a:p>
        </p:txBody>
      </p:sp>
      <p:graphicFrame>
        <p:nvGraphicFramePr>
          <p:cNvPr id="4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4309083"/>
              </p:ext>
            </p:extLst>
          </p:nvPr>
        </p:nvGraphicFramePr>
        <p:xfrm>
          <a:off x="1600200" y="1627475"/>
          <a:ext cx="7086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/>
          <p:cNvSpPr/>
          <p:nvPr/>
        </p:nvSpPr>
        <p:spPr>
          <a:xfrm>
            <a:off x="1851896" y="1844093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66244" y="2743061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35400" y="3619866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19304" y="4456423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51896" y="5310381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3193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Key Milestones &amp; Deliverab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2517" y="966067"/>
            <a:ext cx="8686800" cy="646331"/>
          </a:xfrm>
        </p:spPr>
        <p:txBody>
          <a:bodyPr/>
          <a:lstStyle/>
          <a:p>
            <a:endParaRPr lang="en-US" sz="1800" dirty="0"/>
          </a:p>
          <a:p>
            <a:endParaRPr lang="en-US" sz="1800" dirty="0"/>
          </a:p>
        </p:txBody>
      </p:sp>
      <p:graphicFrame>
        <p:nvGraphicFramePr>
          <p:cNvPr id="4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0328374"/>
              </p:ext>
            </p:extLst>
          </p:nvPr>
        </p:nvGraphicFramePr>
        <p:xfrm>
          <a:off x="705090" y="966066"/>
          <a:ext cx="7772400" cy="51206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34861">
                  <a:extLst>
                    <a:ext uri="{9D8B030D-6E8A-4147-A177-3AD203B41FA5}">
                      <a16:colId xmlns="" xmlns:a16="http://schemas.microsoft.com/office/drawing/2014/main" val="852939504"/>
                    </a:ext>
                  </a:extLst>
                </a:gridCol>
                <a:gridCol w="1837539">
                  <a:extLst>
                    <a:ext uri="{9D8B030D-6E8A-4147-A177-3AD203B41FA5}">
                      <a16:colId xmlns="" xmlns:a16="http://schemas.microsoft.com/office/drawing/2014/main" val="475124087"/>
                    </a:ext>
                  </a:extLst>
                </a:gridCol>
              </a:tblGrid>
              <a:tr h="386099">
                <a:tc>
                  <a:txBody>
                    <a:bodyPr/>
                    <a:lstStyle/>
                    <a:p>
                      <a:r>
                        <a:rPr lang="en-US" sz="14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LINE TRACK (EUC &amp; INFRA)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09186797"/>
                  </a:ext>
                </a:extLst>
              </a:tr>
              <a:tr h="2367271">
                <a:tc>
                  <a:txBody>
                    <a:bodyPr/>
                    <a:lstStyle/>
                    <a:p>
                      <a:pPr marL="752231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ITSM Process Standardization 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Incident Management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Problem Management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Change Management (CAB)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Knowledgebase Management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Service Level Management</a:t>
                      </a:r>
                    </a:p>
                    <a:p>
                      <a:pPr lvl="1"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pril 201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634025476"/>
                  </a:ext>
                </a:extLst>
              </a:tr>
              <a:tr h="2367271">
                <a:tc>
                  <a:txBody>
                    <a:bodyPr/>
                    <a:lstStyle/>
                    <a:p>
                      <a:pPr marL="752231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Command Center Readiness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Command Center Facilities Readiness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Call Center &amp; IVR System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Phone Lines &amp; Toll Free Number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Service Desk Agents Onboarding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Support Staff Onboarding</a:t>
                      </a:r>
                    </a:p>
                    <a:p>
                      <a:pPr marL="466481" marR="0" lvl="1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466481" marR="0" lvl="1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 2016</a:t>
                      </a:r>
                      <a:endParaRPr lang="en-US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065587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64996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Key Milestones &amp; Deliverab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2517" y="966067"/>
            <a:ext cx="8686800" cy="646331"/>
          </a:xfrm>
        </p:spPr>
        <p:txBody>
          <a:bodyPr/>
          <a:lstStyle/>
          <a:p>
            <a:endParaRPr lang="en-US" sz="1800" dirty="0"/>
          </a:p>
          <a:p>
            <a:endParaRPr lang="en-US" sz="1800" dirty="0"/>
          </a:p>
        </p:txBody>
      </p:sp>
      <p:graphicFrame>
        <p:nvGraphicFramePr>
          <p:cNvPr id="4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78748"/>
              </p:ext>
            </p:extLst>
          </p:nvPr>
        </p:nvGraphicFramePr>
        <p:xfrm>
          <a:off x="705090" y="966067"/>
          <a:ext cx="7772400" cy="52574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6410">
                  <a:extLst>
                    <a:ext uri="{9D8B030D-6E8A-4147-A177-3AD203B41FA5}">
                      <a16:colId xmlns="" xmlns:a16="http://schemas.microsoft.com/office/drawing/2014/main" val="852939504"/>
                    </a:ext>
                  </a:extLst>
                </a:gridCol>
                <a:gridCol w="2825990">
                  <a:extLst>
                    <a:ext uri="{9D8B030D-6E8A-4147-A177-3AD203B41FA5}">
                      <a16:colId xmlns="" xmlns:a16="http://schemas.microsoft.com/office/drawing/2014/main" val="475124087"/>
                    </a:ext>
                  </a:extLst>
                </a:gridCol>
              </a:tblGrid>
              <a:tr h="366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RA TRACK (SG AND C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09186797"/>
                  </a:ext>
                </a:extLst>
              </a:tr>
              <a:tr h="421332">
                <a:tc>
                  <a:txBody>
                    <a:bodyPr/>
                    <a:lstStyle/>
                    <a:p>
                      <a:pPr marL="752231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800" dirty="0">
                          <a:latin typeface="+mj-lt"/>
                        </a:rPr>
                        <a:t>Asset inventory and baseline identific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 201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634025476"/>
                  </a:ext>
                </a:extLst>
              </a:tr>
              <a:tr h="421332">
                <a:tc>
                  <a:txBody>
                    <a:bodyPr/>
                    <a:lstStyle/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800" dirty="0">
                          <a:latin typeface="+mj-lt"/>
                        </a:rPr>
                        <a:t>SOP baseline identific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466481" marR="0" lvl="1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 201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507665242"/>
                  </a:ext>
                </a:extLst>
              </a:tr>
              <a:tr h="421332">
                <a:tc>
                  <a:txBody>
                    <a:bodyPr/>
                    <a:lstStyle/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800" dirty="0">
                          <a:latin typeface="+mj-lt"/>
                        </a:rPr>
                        <a:t>Hardware and Software Procuremen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466481" marR="0" lvl="1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 20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0087532"/>
                  </a:ext>
                </a:extLst>
              </a:tr>
              <a:tr h="421332">
                <a:tc>
                  <a:txBody>
                    <a:bodyPr/>
                    <a:lstStyle/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800" dirty="0">
                          <a:latin typeface="+mj-lt"/>
                        </a:rPr>
                        <a:t>VPN Network Connectivi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466481" marR="0" lvl="1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 20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065587202"/>
                  </a:ext>
                </a:extLst>
              </a:tr>
              <a:tr h="421332">
                <a:tc>
                  <a:txBody>
                    <a:bodyPr/>
                    <a:lstStyle/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Hyper-visor Readines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466481" marR="0" lvl="1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 20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465793033"/>
                  </a:ext>
                </a:extLst>
              </a:tr>
              <a:tr h="2647818">
                <a:tc>
                  <a:txBody>
                    <a:bodyPr/>
                    <a:lstStyle/>
                    <a:p>
                      <a:pPr marL="752231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800" dirty="0">
                          <a:latin typeface="+mj-lt"/>
                        </a:rPr>
                        <a:t>Tools Readiness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sz="1800" dirty="0">
                          <a:latin typeface="+mj-lt"/>
                        </a:rPr>
                        <a:t>Self Service Portal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sz="1800" dirty="0" err="1">
                          <a:latin typeface="+mj-lt"/>
                        </a:rPr>
                        <a:t>ServiceNow</a:t>
                      </a:r>
                      <a:endParaRPr lang="en-US" sz="1800" dirty="0">
                        <a:latin typeface="+mj-lt"/>
                      </a:endParaRP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sz="1800" dirty="0" err="1">
                          <a:latin typeface="+mj-lt"/>
                        </a:rPr>
                        <a:t>Solarwinds</a:t>
                      </a:r>
                      <a:r>
                        <a:rPr lang="en-US" sz="1800" dirty="0">
                          <a:latin typeface="+mj-lt"/>
                        </a:rPr>
                        <a:t> Network Monitoring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sz="1800" dirty="0">
                          <a:latin typeface="+mj-lt"/>
                        </a:rPr>
                        <a:t>SCOM System &amp; Application Monitoring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sz="1800" dirty="0">
                          <a:latin typeface="+mj-lt"/>
                        </a:rPr>
                        <a:t>SCCM Server Management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sz="1800" dirty="0">
                          <a:latin typeface="+mj-lt"/>
                        </a:rPr>
                        <a:t>SMS Gatewa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lf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rvice Portal – 15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June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Now – 22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d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</a:t>
                      </a:r>
                      <a:endParaRPr lang="en-US" sz="1400" b="0" i="0" u="none" strike="noStrike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winds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</a:t>
                      </a: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M – 20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CM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16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S Gateway – 11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9039310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29785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Key Milestones &amp; Deliverab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2517" y="966067"/>
            <a:ext cx="8686800" cy="646331"/>
          </a:xfrm>
        </p:spPr>
        <p:txBody>
          <a:bodyPr/>
          <a:lstStyle/>
          <a:p>
            <a:endParaRPr lang="en-US" sz="1800" dirty="0"/>
          </a:p>
          <a:p>
            <a:endParaRPr lang="en-US" sz="1800" dirty="0"/>
          </a:p>
        </p:txBody>
      </p:sp>
      <p:graphicFrame>
        <p:nvGraphicFramePr>
          <p:cNvPr id="4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382534"/>
              </p:ext>
            </p:extLst>
          </p:nvPr>
        </p:nvGraphicFramePr>
        <p:xfrm>
          <a:off x="705090" y="966067"/>
          <a:ext cx="7772400" cy="55391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7010">
                  <a:extLst>
                    <a:ext uri="{9D8B030D-6E8A-4147-A177-3AD203B41FA5}">
                      <a16:colId xmlns="" xmlns:a16="http://schemas.microsoft.com/office/drawing/2014/main" val="852939504"/>
                    </a:ext>
                  </a:extLst>
                </a:gridCol>
                <a:gridCol w="3105390">
                  <a:extLst>
                    <a:ext uri="{9D8B030D-6E8A-4147-A177-3AD203B41FA5}">
                      <a16:colId xmlns="" xmlns:a16="http://schemas.microsoft.com/office/drawing/2014/main" val="475124087"/>
                    </a:ext>
                  </a:extLst>
                </a:gridCol>
              </a:tblGrid>
              <a:tr h="338316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UC TRACK (S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09186797"/>
                  </a:ext>
                </a:extLst>
              </a:tr>
              <a:tr h="562717">
                <a:tc>
                  <a:txBody>
                    <a:bodyPr/>
                    <a:lstStyle/>
                    <a:p>
                      <a:pPr marL="752231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Existing Service Desk Workflow Management Worksho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en-US" sz="14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 201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634025476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 marL="752231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Asset inventory and baseline identific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466481" marR="0" lvl="1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4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 </a:t>
                      </a:r>
                      <a:r>
                        <a:rPr lang="en-US" sz="14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507665242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 marL="752231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EUC Field Engineer Onboarding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466481" marR="0" lvl="1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 20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0087532"/>
                  </a:ext>
                </a:extLst>
              </a:tr>
              <a:tr h="389292">
                <a:tc>
                  <a:txBody>
                    <a:bodyPr/>
                    <a:lstStyle/>
                    <a:p>
                      <a:pPr marL="752231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SOP baseline identific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466481" marR="0" lvl="1" indent="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en-US" sz="14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 201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065587202"/>
                  </a:ext>
                </a:extLst>
              </a:tr>
              <a:tr h="3051731">
                <a:tc>
                  <a:txBody>
                    <a:bodyPr/>
                    <a:lstStyle/>
                    <a:p>
                      <a:pPr marL="752231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Tools Readiness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Self Service Portal</a:t>
                      </a:r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 err="1"/>
                        <a:t>ServiceNow</a:t>
                      </a:r>
                      <a:endParaRPr lang="en-US" dirty="0"/>
                    </a:p>
                    <a:p>
                      <a:pPr marL="1275862" lvl="2" indent="-342900">
                        <a:buFont typeface="+mj-lt"/>
                        <a:buAutoNum type="arabicPeriod"/>
                      </a:pPr>
                      <a:r>
                        <a:rPr lang="en-US" dirty="0"/>
                        <a:t>SCCM Desktop Management</a:t>
                      </a:r>
                    </a:p>
                    <a:p>
                      <a:pPr marL="1742343" lvl="3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Asset Management</a:t>
                      </a:r>
                    </a:p>
                    <a:p>
                      <a:pPr marL="1742343" lvl="3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Patch Management</a:t>
                      </a:r>
                    </a:p>
                    <a:p>
                      <a:pPr marL="1742343" lvl="3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oftware Deployment</a:t>
                      </a:r>
                    </a:p>
                    <a:p>
                      <a:pPr marL="1742343" lvl="3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OS Deployment</a:t>
                      </a:r>
                    </a:p>
                    <a:p>
                      <a:pPr marL="1742343" lvl="3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Baseline Configuration Management</a:t>
                      </a:r>
                    </a:p>
                    <a:p>
                      <a:pPr marL="1742343" lvl="3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mote Desktop Managemen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lf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rvice Portal – 15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Now – 8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ne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Management – 23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ftware Deployment – </a:t>
                      </a:r>
                      <a:r>
                        <a:rPr lang="en-MY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r>
                        <a:rPr lang="en-MY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MY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</a:t>
                      </a:r>
                      <a:endParaRPr lang="en-US" sz="14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 Deployment – 30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line – 23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mote Desktop – 20</a:t>
                      </a:r>
                      <a:r>
                        <a:rPr lang="en-US" sz="1400" b="0" i="0" u="none" strike="noStrike" baseline="3000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</a:t>
                      </a:r>
                    </a:p>
                    <a:p>
                      <a:pPr marL="752231" marR="0" lvl="1" indent="-285750" algn="l" defTabSz="93296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4657930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01748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0" y="1859280"/>
            <a:ext cx="6746033" cy="1323245"/>
          </a:xfrm>
        </p:spPr>
        <p:txBody>
          <a:bodyPr/>
          <a:lstStyle/>
          <a:p>
            <a:r>
              <a:rPr lang="en-US" dirty="0" smtClean="0"/>
              <a:t>Q&amp;A Sessio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607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76332" y="1151514"/>
            <a:ext cx="5524332" cy="547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3" name="Rectangle 7"/>
          <p:cNvSpPr>
            <a:spLocks/>
          </p:cNvSpPr>
          <p:nvPr/>
        </p:nvSpPr>
        <p:spPr bwMode="auto">
          <a:xfrm>
            <a:off x="2057400" y="2286001"/>
            <a:ext cx="161904" cy="446276"/>
          </a:xfrm>
          <a:prstGeom prst="rect">
            <a:avLst/>
          </a:prstGeom>
          <a:noFill/>
          <a:ln w="12700" cap="rnd">
            <a:noFill/>
            <a:round/>
            <a:headEnd type="none" w="med" len="med"/>
            <a:tailEnd type="none" w="med" len="med"/>
          </a:ln>
        </p:spPr>
        <p:txBody>
          <a:bodyPr wrap="none" lIns="38100" tIns="38100" rIns="38100" bIns="3810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solidFill>
                  <a:srgbClr val="32323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-106" charset="-128"/>
                <a:cs typeface="Arial" charset="0"/>
                <a:sym typeface="Arial" charset="0"/>
              </a:rPr>
              <a:t> </a:t>
            </a:r>
          </a:p>
        </p:txBody>
      </p:sp>
      <p:graphicFrame>
        <p:nvGraphicFramePr>
          <p:cNvPr id="4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177951"/>
              </p:ext>
            </p:extLst>
          </p:nvPr>
        </p:nvGraphicFramePr>
        <p:xfrm>
          <a:off x="1600200" y="1627475"/>
          <a:ext cx="7086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/>
          <p:cNvSpPr/>
          <p:nvPr/>
        </p:nvSpPr>
        <p:spPr>
          <a:xfrm>
            <a:off x="1826668" y="1931738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19304" y="2736610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59731" y="3587691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19304" y="4473588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26668" y="5301107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6375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Object 9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/>
          <p:cNvSpPr>
            <a:spLocks/>
          </p:cNvSpPr>
          <p:nvPr/>
        </p:nvSpPr>
        <p:spPr>
          <a:xfrm>
            <a:off x="2454586" y="2632692"/>
            <a:ext cx="6598797" cy="324088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1100" dirty="0" err="1">
              <a:solidFill>
                <a:schemeClr val="bg1"/>
              </a:solidFill>
            </a:endParaRPr>
          </a:p>
        </p:txBody>
      </p:sp>
      <p:sp>
        <p:nvSpPr>
          <p:cNvPr id="90" name="Rectangle 89"/>
          <p:cNvSpPr>
            <a:spLocks/>
          </p:cNvSpPr>
          <p:nvPr/>
        </p:nvSpPr>
        <p:spPr>
          <a:xfrm>
            <a:off x="4821425" y="1480393"/>
            <a:ext cx="2044397" cy="104682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sz="1100" dirty="0" err="1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5616495" y="1892898"/>
            <a:ext cx="1176558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</a:rPr>
              <a:t>Sandip Gupta</a:t>
            </a:r>
            <a:endParaRPr lang="en-US" sz="1100" dirty="0">
              <a:solidFill>
                <a:schemeClr val="accent1"/>
              </a:solidFill>
            </a:endParaRPr>
          </a:p>
          <a:p>
            <a:pPr algn="ctr"/>
            <a:r>
              <a:rPr lang="en-US" sz="1100" dirty="0"/>
              <a:t>VP, Emerging Businesses</a:t>
            </a:r>
            <a:endParaRPr lang="en-SG" sz="1100" dirty="0"/>
          </a:p>
        </p:txBody>
      </p:sp>
      <p:sp>
        <p:nvSpPr>
          <p:cNvPr id="40" name="Rectangle 39"/>
          <p:cNvSpPr>
            <a:spLocks/>
          </p:cNvSpPr>
          <p:nvPr/>
        </p:nvSpPr>
        <p:spPr>
          <a:xfrm>
            <a:off x="228598" y="1463158"/>
            <a:ext cx="2083114" cy="106258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1100" dirty="0" err="1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76408" y="1885567"/>
            <a:ext cx="116772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SG" sz="1100" b="1" dirty="0">
                <a:solidFill>
                  <a:schemeClr val="accent1"/>
                </a:solidFill>
              </a:rPr>
              <a:t>Cheong Yen </a:t>
            </a:r>
            <a:r>
              <a:rPr lang="en-SG" sz="1100" b="1" dirty="0" err="1">
                <a:solidFill>
                  <a:schemeClr val="accent1"/>
                </a:solidFill>
              </a:rPr>
              <a:t>Niap</a:t>
            </a:r>
            <a:endParaRPr lang="en-US" sz="1100" b="1" dirty="0">
              <a:solidFill>
                <a:schemeClr val="accent1"/>
              </a:solidFill>
            </a:endParaRPr>
          </a:p>
          <a:p>
            <a:pPr algn="ctr"/>
            <a:r>
              <a:rPr lang="en-US" sz="1100" dirty="0"/>
              <a:t>Head Enterprise </a:t>
            </a:r>
          </a:p>
          <a:p>
            <a:pPr algn="ctr"/>
            <a:r>
              <a:rPr lang="en-US" sz="1100" dirty="0"/>
              <a:t>Business</a:t>
            </a:r>
            <a:endParaRPr lang="en-SG" sz="1100" dirty="0"/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228598" y="1469141"/>
            <a:ext cx="2083114" cy="314702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Executive Sponsor</a:t>
            </a:r>
            <a:endParaRPr lang="en-SG" sz="1100" b="1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>
            <a:spLocks/>
          </p:cNvSpPr>
          <p:nvPr/>
        </p:nvSpPr>
        <p:spPr>
          <a:xfrm>
            <a:off x="3670363" y="3177672"/>
            <a:ext cx="1973453" cy="104682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sz="1100" dirty="0" err="1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32818" y="3560187"/>
            <a:ext cx="512063" cy="640080"/>
          </a:xfrm>
          <a:prstGeom prst="rect">
            <a:avLst/>
          </a:prstGeom>
        </p:spPr>
      </p:pic>
      <p:sp>
        <p:nvSpPr>
          <p:cNvPr id="16" name="TextBox 15"/>
          <p:cNvSpPr txBox="1">
            <a:spLocks/>
          </p:cNvSpPr>
          <p:nvPr/>
        </p:nvSpPr>
        <p:spPr>
          <a:xfrm>
            <a:off x="4250547" y="3603832"/>
            <a:ext cx="1365948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</a:rPr>
              <a:t>David Tan</a:t>
            </a:r>
            <a:endParaRPr lang="en-US" sz="1100" dirty="0">
              <a:solidFill>
                <a:schemeClr val="accent1"/>
              </a:solidFill>
            </a:endParaRPr>
          </a:p>
          <a:p>
            <a:pPr algn="ctr"/>
            <a:r>
              <a:rPr lang="en-US" sz="1100" dirty="0"/>
              <a:t>Director, Cloud Sales, Architects &amp; Delivery</a:t>
            </a:r>
            <a:endParaRPr lang="en-SG" sz="1100" dirty="0"/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3670363" y="3183654"/>
            <a:ext cx="1973453" cy="314702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Delivery Director</a:t>
            </a:r>
            <a:endParaRPr lang="en-SG" sz="1100" b="1" dirty="0">
              <a:solidFill>
                <a:schemeClr val="bg1"/>
              </a:solidFill>
            </a:endParaRPr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5816586" y="3177672"/>
            <a:ext cx="2000926" cy="104682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sz="1100" dirty="0" err="1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6453457" y="3603832"/>
            <a:ext cx="135242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</a:rPr>
              <a:t>Ronald Lim </a:t>
            </a:r>
            <a:r>
              <a:rPr lang="en-US" sz="1100" b="1" dirty="0" err="1">
                <a:solidFill>
                  <a:schemeClr val="accent1"/>
                </a:solidFill>
              </a:rPr>
              <a:t>Kok</a:t>
            </a:r>
            <a:r>
              <a:rPr lang="en-US" sz="1100" b="1" dirty="0">
                <a:solidFill>
                  <a:schemeClr val="accent1"/>
                </a:solidFill>
              </a:rPr>
              <a:t> Leong</a:t>
            </a:r>
            <a:r>
              <a:rPr lang="en-US" sz="1100" dirty="0"/>
              <a:t> </a:t>
            </a:r>
          </a:p>
          <a:p>
            <a:pPr algn="ctr"/>
            <a:r>
              <a:rPr lang="en-US" sz="1100" dirty="0"/>
              <a:t>Cloud Architects</a:t>
            </a:r>
            <a:endParaRPr lang="en-SG" sz="1100" dirty="0"/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5816586" y="3183654"/>
            <a:ext cx="2000926" cy="314702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Cloud Architect</a:t>
            </a:r>
            <a:endParaRPr lang="en-SG" sz="1100" b="1" dirty="0">
              <a:solidFill>
                <a:schemeClr val="bg1"/>
              </a:solidFill>
            </a:endParaRPr>
          </a:p>
        </p:txBody>
      </p:sp>
      <p:sp>
        <p:nvSpPr>
          <p:cNvPr id="47" name="Rectangle 46"/>
          <p:cNvSpPr>
            <a:spLocks/>
          </p:cNvSpPr>
          <p:nvPr/>
        </p:nvSpPr>
        <p:spPr>
          <a:xfrm>
            <a:off x="2645904" y="4541073"/>
            <a:ext cx="1970642" cy="10694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1100" dirty="0" err="1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08358" y="4928670"/>
            <a:ext cx="481138" cy="640080"/>
          </a:xfrm>
          <a:prstGeom prst="rect">
            <a:avLst/>
          </a:prstGeom>
        </p:spPr>
      </p:pic>
      <p:sp>
        <p:nvSpPr>
          <p:cNvPr id="20" name="TextBox 19"/>
          <p:cNvSpPr txBox="1">
            <a:spLocks/>
          </p:cNvSpPr>
          <p:nvPr/>
        </p:nvSpPr>
        <p:spPr>
          <a:xfrm>
            <a:off x="3226088" y="4972229"/>
            <a:ext cx="1365948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</a:rPr>
              <a:t>Paul Southern</a:t>
            </a:r>
            <a:endParaRPr lang="en-US" sz="1100" dirty="0">
              <a:solidFill>
                <a:schemeClr val="accent1"/>
              </a:solidFill>
            </a:endParaRPr>
          </a:p>
          <a:p>
            <a:pPr algn="ctr"/>
            <a:r>
              <a:rPr lang="en-US" sz="1100" dirty="0"/>
              <a:t>Project Director, </a:t>
            </a:r>
          </a:p>
          <a:p>
            <a:pPr algn="ctr"/>
            <a:r>
              <a:rPr lang="en-US" sz="1100" dirty="0"/>
              <a:t>Cloud Delivery</a:t>
            </a:r>
            <a:endParaRPr lang="en-SG" sz="1100" dirty="0"/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2645904" y="4547054"/>
            <a:ext cx="1970642" cy="314702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Project Director</a:t>
            </a:r>
            <a:endParaRPr lang="en-SG" sz="1100" b="1" dirty="0">
              <a:solidFill>
                <a:schemeClr val="bg1"/>
              </a:solidFill>
            </a:endParaRPr>
          </a:p>
        </p:txBody>
      </p:sp>
      <p:sp>
        <p:nvSpPr>
          <p:cNvPr id="52" name="Rectangle 51"/>
          <p:cNvSpPr>
            <a:spLocks/>
          </p:cNvSpPr>
          <p:nvPr/>
        </p:nvSpPr>
        <p:spPr>
          <a:xfrm>
            <a:off x="4726129" y="4541073"/>
            <a:ext cx="2021204" cy="10694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sz="1100" dirty="0" err="1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5383278" y="4972229"/>
            <a:ext cx="135242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</a:rPr>
              <a:t>Yeo Choon Siong</a:t>
            </a:r>
            <a:endParaRPr lang="en-US" sz="1100" dirty="0">
              <a:solidFill>
                <a:schemeClr val="accent1"/>
              </a:solidFill>
            </a:endParaRPr>
          </a:p>
          <a:p>
            <a:pPr algn="ctr"/>
            <a:r>
              <a:rPr lang="en-US" sz="1100" dirty="0"/>
              <a:t>Cloud Architect, </a:t>
            </a:r>
          </a:p>
          <a:p>
            <a:pPr algn="ctr"/>
            <a:r>
              <a:rPr lang="en-US" sz="1100" dirty="0"/>
              <a:t>Cloud Delivery</a:t>
            </a:r>
            <a:endParaRPr lang="en-SG" sz="11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2768" y="4928672"/>
            <a:ext cx="478084" cy="640080"/>
          </a:xfrm>
          <a:prstGeom prst="rect">
            <a:avLst/>
          </a:prstGeom>
        </p:spPr>
      </p:pic>
      <p:sp>
        <p:nvSpPr>
          <p:cNvPr id="53" name="TextBox 52"/>
          <p:cNvSpPr txBox="1">
            <a:spLocks/>
          </p:cNvSpPr>
          <p:nvPr/>
        </p:nvSpPr>
        <p:spPr>
          <a:xfrm>
            <a:off x="4726129" y="4547054"/>
            <a:ext cx="2021204" cy="314702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Cloud Delivery</a:t>
            </a:r>
            <a:endParaRPr lang="en-SG" sz="1100" b="1" dirty="0">
              <a:solidFill>
                <a:schemeClr val="bg1"/>
              </a:solidFill>
            </a:endParaRPr>
          </a:p>
        </p:txBody>
      </p:sp>
      <p:sp>
        <p:nvSpPr>
          <p:cNvPr id="57" name="Rectangle 56"/>
          <p:cNvSpPr>
            <a:spLocks/>
          </p:cNvSpPr>
          <p:nvPr/>
        </p:nvSpPr>
        <p:spPr>
          <a:xfrm>
            <a:off x="228598" y="2637658"/>
            <a:ext cx="2083114" cy="323592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1100" dirty="0" err="1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371472" y="5289196"/>
            <a:ext cx="182491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</a:rPr>
              <a:t>Nyx Ching</a:t>
            </a:r>
          </a:p>
          <a:p>
            <a:pPr algn="ctr"/>
            <a:r>
              <a:rPr lang="en-US" sz="1100" dirty="0"/>
              <a:t>Enterprise Account Manager</a:t>
            </a:r>
            <a:endParaRPr lang="en-SG" sz="1100" dirty="0"/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486802" y="3749604"/>
            <a:ext cx="156670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</a:rPr>
              <a:t>Lena Ng</a:t>
            </a:r>
          </a:p>
          <a:p>
            <a:pPr algn="ctr"/>
            <a:r>
              <a:rPr lang="en-US" sz="1100" dirty="0"/>
              <a:t>Head Sales, Business Sales</a:t>
            </a:r>
            <a:endParaRPr lang="en-SG" sz="1100" dirty="0"/>
          </a:p>
        </p:txBody>
      </p:sp>
      <p:sp>
        <p:nvSpPr>
          <p:cNvPr id="58" name="TextBox 57"/>
          <p:cNvSpPr txBox="1">
            <a:spLocks/>
          </p:cNvSpPr>
          <p:nvPr/>
        </p:nvSpPr>
        <p:spPr>
          <a:xfrm>
            <a:off x="228598" y="2632692"/>
            <a:ext cx="2083114" cy="326668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txBody>
          <a:bodyPr wrap="square" lIns="72009" tIns="72009" rIns="72009" bIns="72009" rtlCol="0" anchor="ctr" anchorCtr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Account Management Team</a:t>
            </a:r>
            <a:endParaRPr lang="en-SG" sz="1100" b="1" dirty="0">
              <a:solidFill>
                <a:schemeClr val="bg1"/>
              </a:solidFill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2454586" y="2638674"/>
            <a:ext cx="6598797" cy="314702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txBody>
          <a:bodyPr wrap="square" lIns="72009" tIns="72009" rIns="72009" bIns="72009" rtlCol="0" anchor="ctr" anchorCtr="0">
            <a:spAutoFit/>
          </a:bodyPr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en-US" sz="1100" dirty="0"/>
              <a:t>Solution &amp; Delivery Team</a:t>
            </a:r>
            <a:endParaRPr lang="en-SG" sz="1100" dirty="0"/>
          </a:p>
        </p:txBody>
      </p:sp>
      <p:cxnSp>
        <p:nvCxnSpPr>
          <p:cNvPr id="67" name="Straight Connector 66"/>
          <p:cNvCxnSpPr>
            <a:stCxn id="57" idx="0"/>
            <a:endCxn id="40" idx="2"/>
          </p:cNvCxnSpPr>
          <p:nvPr/>
        </p:nvCxnSpPr>
        <p:spPr>
          <a:xfrm rot="5400000" flipH="1" flipV="1">
            <a:off x="1214198" y="2581701"/>
            <a:ext cx="111915" cy="1270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>
            <a:endCxn id="63" idx="0"/>
          </p:cNvCxnSpPr>
          <p:nvPr/>
        </p:nvCxnSpPr>
        <p:spPr>
          <a:xfrm>
            <a:off x="5752524" y="2525743"/>
            <a:ext cx="1461" cy="106949"/>
          </a:xfrm>
          <a:prstGeom prst="straightConnector1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troduction - The Singtel Team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061" y="1772536"/>
            <a:ext cx="640080" cy="640080"/>
          </a:xfrm>
          <a:prstGeom prst="rect">
            <a:avLst/>
          </a:prstGeom>
        </p:spPr>
      </p:pic>
      <p:sp>
        <p:nvSpPr>
          <p:cNvPr id="65" name="TextBox 64"/>
          <p:cNvSpPr txBox="1">
            <a:spLocks/>
          </p:cNvSpPr>
          <p:nvPr/>
        </p:nvSpPr>
        <p:spPr>
          <a:xfrm>
            <a:off x="4831390" y="1470132"/>
            <a:ext cx="2034432" cy="314702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Executive Sponsor</a:t>
            </a:r>
            <a:endParaRPr lang="en-SG" sz="1100" b="1" dirty="0">
              <a:solidFill>
                <a:schemeClr val="bg1"/>
              </a:solidFill>
            </a:endParaRPr>
          </a:p>
        </p:txBody>
      </p:sp>
      <p:sp>
        <p:nvSpPr>
          <p:cNvPr id="66" name="Rectangle 65"/>
          <p:cNvSpPr>
            <a:spLocks/>
          </p:cNvSpPr>
          <p:nvPr/>
        </p:nvSpPr>
        <p:spPr>
          <a:xfrm>
            <a:off x="6865822" y="4541073"/>
            <a:ext cx="2021204" cy="10694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sz="1100" dirty="0" err="1">
              <a:solidFill>
                <a:schemeClr val="bg1"/>
              </a:solidFill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7522971" y="4930284"/>
            <a:ext cx="1352423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</a:rPr>
              <a:t>Ivan Tiu</a:t>
            </a:r>
            <a:endParaRPr lang="en-US" sz="1100" dirty="0">
              <a:solidFill>
                <a:schemeClr val="accent1"/>
              </a:solidFill>
            </a:endParaRPr>
          </a:p>
          <a:p>
            <a:pPr algn="ctr"/>
            <a:r>
              <a:rPr lang="en-US" sz="1100" dirty="0"/>
              <a:t>Cloud Business Development Manager</a:t>
            </a:r>
            <a:endParaRPr lang="en-SG" sz="1100" dirty="0"/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6865822" y="4547054"/>
            <a:ext cx="2021204" cy="314702"/>
          </a:xfrm>
          <a:prstGeom prst="rect">
            <a:avLst/>
          </a:prstGeom>
          <a:gradFill>
            <a:gsLst>
              <a:gs pos="0">
                <a:schemeClr val="accent1">
                  <a:lumMod val="73000"/>
                </a:schemeClr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Cloud Specialist</a:t>
            </a:r>
            <a:endParaRPr lang="en-SG" sz="1100" b="1" dirty="0">
              <a:solidFill>
                <a:schemeClr val="bg1"/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844" y="4914990"/>
            <a:ext cx="457200" cy="570895"/>
          </a:xfrm>
          <a:prstGeom prst="rect">
            <a:avLst/>
          </a:prstGeom>
        </p:spPr>
      </p:pic>
      <p:pic>
        <p:nvPicPr>
          <p:cNvPr id="222291" name="Picture 3" descr=" Cheong Yen Niap (Singtel)"/>
          <p:cNvPicPr>
            <a:picLocks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9" r="10959"/>
          <a:stretch/>
        </p:blipFill>
        <p:spPr bwMode="auto">
          <a:xfrm>
            <a:off x="316333" y="1811893"/>
            <a:ext cx="510540" cy="64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55"/>
          <p:cNvPicPr>
            <a:picLocks/>
          </p:cNvPicPr>
          <p:nvPr/>
        </p:nvPicPr>
        <p:blipFill>
          <a:blip r:embed="rId13"/>
          <a:stretch>
            <a:fillRect/>
          </a:stretch>
        </p:blipFill>
        <p:spPr>
          <a:xfrm>
            <a:off x="1044169" y="3069040"/>
            <a:ext cx="457200" cy="640080"/>
          </a:xfrm>
          <a:prstGeom prst="rect">
            <a:avLst/>
          </a:prstGeom>
        </p:spPr>
      </p:pic>
      <p:pic>
        <p:nvPicPr>
          <p:cNvPr id="59" name="Picture 58"/>
          <p:cNvPicPr>
            <a:picLocks/>
          </p:cNvPicPr>
          <p:nvPr/>
        </p:nvPicPr>
        <p:blipFill>
          <a:blip r:embed="rId14"/>
          <a:stretch>
            <a:fillRect/>
          </a:stretch>
        </p:blipFill>
        <p:spPr>
          <a:xfrm>
            <a:off x="1045389" y="4552673"/>
            <a:ext cx="457200" cy="640080"/>
          </a:xfrm>
          <a:prstGeom prst="rect">
            <a:avLst/>
          </a:prstGeom>
        </p:spPr>
      </p:pic>
      <p:pic>
        <p:nvPicPr>
          <p:cNvPr id="222292" name="Picture 4" descr=" Lim Kok Leong (Singtel)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830" y="3547121"/>
            <a:ext cx="497839" cy="64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61183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76332" y="1151514"/>
            <a:ext cx="5524332" cy="547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3" name="Rectangle 7"/>
          <p:cNvSpPr>
            <a:spLocks/>
          </p:cNvSpPr>
          <p:nvPr/>
        </p:nvSpPr>
        <p:spPr bwMode="auto">
          <a:xfrm>
            <a:off x="2057400" y="2286001"/>
            <a:ext cx="161904" cy="446276"/>
          </a:xfrm>
          <a:prstGeom prst="rect">
            <a:avLst/>
          </a:prstGeom>
          <a:noFill/>
          <a:ln w="12700" cap="rnd">
            <a:noFill/>
            <a:round/>
            <a:headEnd type="none" w="med" len="med"/>
            <a:tailEnd type="none" w="med" len="med"/>
          </a:ln>
        </p:spPr>
        <p:txBody>
          <a:bodyPr wrap="none" lIns="38100" tIns="38100" rIns="38100" bIns="3810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solidFill>
                  <a:srgbClr val="32323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-106" charset="-128"/>
                <a:cs typeface="Arial" charset="0"/>
                <a:sym typeface="Arial" charset="0"/>
              </a:rPr>
              <a:t> </a:t>
            </a:r>
          </a:p>
        </p:txBody>
      </p:sp>
      <p:graphicFrame>
        <p:nvGraphicFramePr>
          <p:cNvPr id="4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6395584"/>
              </p:ext>
            </p:extLst>
          </p:nvPr>
        </p:nvGraphicFramePr>
        <p:xfrm>
          <a:off x="1600200" y="1627475"/>
          <a:ext cx="7086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/>
          <p:cNvSpPr/>
          <p:nvPr/>
        </p:nvSpPr>
        <p:spPr>
          <a:xfrm>
            <a:off x="1826668" y="1931738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19304" y="2736610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59731" y="3587691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19304" y="4473588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26668" y="5301107"/>
            <a:ext cx="367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</a:t>
            </a:r>
            <a:endParaRPr kumimoji="0" lang="en-SG" sz="2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7065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Transition and Transformation Management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-52711" y="935791"/>
          <a:ext cx="9223216" cy="1645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48640">
                  <a:extLst>
                    <a:ext uri="{9D8B030D-6E8A-4147-A177-3AD203B41FA5}">
                      <a16:colId xmlns:a16="http://schemas.microsoft.com/office/drawing/2014/main" xmlns="" val="3826514067"/>
                    </a:ext>
                  </a:extLst>
                </a:gridCol>
                <a:gridCol w="1160848">
                  <a:extLst>
                    <a:ext uri="{9D8B030D-6E8A-4147-A177-3AD203B41FA5}">
                      <a16:colId xmlns:a16="http://schemas.microsoft.com/office/drawing/2014/main" xmlns="" val="2550091978"/>
                    </a:ext>
                  </a:extLst>
                </a:gridCol>
                <a:gridCol w="1160848">
                  <a:extLst>
                    <a:ext uri="{9D8B030D-6E8A-4147-A177-3AD203B41FA5}">
                      <a16:colId xmlns:a16="http://schemas.microsoft.com/office/drawing/2014/main" xmlns="" val="3403654835"/>
                    </a:ext>
                  </a:extLst>
                </a:gridCol>
                <a:gridCol w="1160848">
                  <a:extLst>
                    <a:ext uri="{9D8B030D-6E8A-4147-A177-3AD203B41FA5}">
                      <a16:colId xmlns:a16="http://schemas.microsoft.com/office/drawing/2014/main" xmlns="" val="1072737192"/>
                    </a:ext>
                  </a:extLst>
                </a:gridCol>
                <a:gridCol w="1160848">
                  <a:extLst>
                    <a:ext uri="{9D8B030D-6E8A-4147-A177-3AD203B41FA5}">
                      <a16:colId xmlns:a16="http://schemas.microsoft.com/office/drawing/2014/main" xmlns="" val="2559309268"/>
                    </a:ext>
                  </a:extLst>
                </a:gridCol>
                <a:gridCol w="1160848">
                  <a:extLst>
                    <a:ext uri="{9D8B030D-6E8A-4147-A177-3AD203B41FA5}">
                      <a16:colId xmlns:a16="http://schemas.microsoft.com/office/drawing/2014/main" xmlns="" val="4124438956"/>
                    </a:ext>
                  </a:extLst>
                </a:gridCol>
                <a:gridCol w="1160848">
                  <a:extLst>
                    <a:ext uri="{9D8B030D-6E8A-4147-A177-3AD203B41FA5}">
                      <a16:colId xmlns:a16="http://schemas.microsoft.com/office/drawing/2014/main" xmlns="" val="1236168644"/>
                    </a:ext>
                  </a:extLst>
                </a:gridCol>
                <a:gridCol w="1160848">
                  <a:extLst>
                    <a:ext uri="{9D8B030D-6E8A-4147-A177-3AD203B41FA5}">
                      <a16:colId xmlns:a16="http://schemas.microsoft.com/office/drawing/2014/main" xmlns="" val="915526007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xmlns="" val="314883556"/>
                    </a:ext>
                  </a:extLst>
                </a:gridCol>
              </a:tblGrid>
              <a:tr h="304849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35597567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24557503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214203" y="1034802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27 Apr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586480" y="1012362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Au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55949" y="998294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Sep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430460" y="1017600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Jul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204213" y="992598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Dec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530322" y="2140573"/>
            <a:ext cx="4956372" cy="246828"/>
            <a:chOff x="2299410" y="2191063"/>
            <a:chExt cx="4838344" cy="246828"/>
          </a:xfrm>
        </p:grpSpPr>
        <p:sp>
          <p:nvSpPr>
            <p:cNvPr id="27" name="Rectangle 26"/>
            <p:cNvSpPr/>
            <p:nvPr/>
          </p:nvSpPr>
          <p:spPr>
            <a:xfrm>
              <a:off x="2881313" y="2225707"/>
              <a:ext cx="3417083" cy="180000"/>
            </a:xfrm>
            <a:prstGeom prst="rect">
              <a:avLst/>
            </a:prstGeom>
            <a:solidFill>
              <a:srgbClr val="7030A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ormation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299410" y="2191063"/>
              <a:ext cx="5819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</a:t>
              </a:r>
            </a:p>
          </p:txBody>
        </p:sp>
        <p:sp>
          <p:nvSpPr>
            <p:cNvPr id="29" name="Isosceles Triangle 28"/>
            <p:cNvSpPr/>
            <p:nvPr/>
          </p:nvSpPr>
          <p:spPr>
            <a:xfrm>
              <a:off x="2802663" y="2222734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Isosceles Triangle 29"/>
            <p:cNvSpPr/>
            <p:nvPr/>
          </p:nvSpPr>
          <p:spPr>
            <a:xfrm>
              <a:off x="6205816" y="2225800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6295079" y="2191670"/>
              <a:ext cx="8426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Dec</a:t>
              </a:r>
            </a:p>
          </p:txBody>
        </p:sp>
      </p:grpSp>
      <p:sp>
        <p:nvSpPr>
          <p:cNvPr id="126" name="Rounded Rectangle 125"/>
          <p:cNvSpPr/>
          <p:nvPr/>
        </p:nvSpPr>
        <p:spPr>
          <a:xfrm>
            <a:off x="172517" y="2577036"/>
            <a:ext cx="8686800" cy="1188720"/>
          </a:xfrm>
          <a:prstGeom prst="roundRect">
            <a:avLst>
              <a:gd name="adj" fmla="val 7720"/>
            </a:avLst>
          </a:prstGeom>
          <a:solidFill>
            <a:srgbClr val="FDE7EB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ansi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and SOP baselin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ools monitoring and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perations As-Is take over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8" name="Rounded Rectangle 127"/>
          <p:cNvSpPr/>
          <p:nvPr/>
        </p:nvSpPr>
        <p:spPr>
          <a:xfrm>
            <a:off x="172517" y="3786549"/>
            <a:ext cx="8686800" cy="1188720"/>
          </a:xfrm>
          <a:prstGeom prst="roundRect">
            <a:avLst>
              <a:gd name="adj" fmla="val 7720"/>
            </a:avLst>
          </a:prstGeom>
          <a:solidFill>
            <a:srgbClr val="DFF4C8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abil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peration process stabil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ools information collection and fine tuning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9" name="Rounded Rectangle 128"/>
          <p:cNvSpPr/>
          <p:nvPr/>
        </p:nvSpPr>
        <p:spPr>
          <a:xfrm>
            <a:off x="172517" y="4987350"/>
            <a:ext cx="8686800" cy="1188720"/>
          </a:xfrm>
          <a:prstGeom prst="roundRect">
            <a:avLst>
              <a:gd name="adj" fmla="val 7720"/>
            </a:avLst>
          </a:prstGeom>
          <a:solidFill>
            <a:srgbClr val="E0CDEF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ansfor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ansform object CI Management to Services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mprove operation management and monitoring upti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ptimize resources and tools based on services management</a:t>
            </a:r>
          </a:p>
        </p:txBody>
      </p:sp>
      <p:grpSp>
        <p:nvGrpSpPr>
          <p:cNvPr id="130" name="Group 129"/>
          <p:cNvGrpSpPr/>
          <p:nvPr/>
        </p:nvGrpSpPr>
        <p:grpSpPr>
          <a:xfrm>
            <a:off x="2215355" y="1768060"/>
            <a:ext cx="3787976" cy="246828"/>
            <a:chOff x="2299410" y="2191063"/>
            <a:chExt cx="3697768" cy="246828"/>
          </a:xfrm>
        </p:grpSpPr>
        <p:sp>
          <p:nvSpPr>
            <p:cNvPr id="131" name="Rectangle 130"/>
            <p:cNvSpPr/>
            <p:nvPr/>
          </p:nvSpPr>
          <p:spPr>
            <a:xfrm>
              <a:off x="2881313" y="2225707"/>
              <a:ext cx="2273190" cy="180000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bilization</a:t>
              </a: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2299410" y="2191063"/>
              <a:ext cx="5819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Jul</a:t>
              </a:r>
            </a:p>
          </p:txBody>
        </p:sp>
        <p:sp>
          <p:nvSpPr>
            <p:cNvPr id="133" name="Isosceles Triangle 132"/>
            <p:cNvSpPr/>
            <p:nvPr/>
          </p:nvSpPr>
          <p:spPr>
            <a:xfrm>
              <a:off x="2802663" y="2222734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Isosceles Triangle 133"/>
            <p:cNvSpPr/>
            <p:nvPr/>
          </p:nvSpPr>
          <p:spPr>
            <a:xfrm>
              <a:off x="5068339" y="2225800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5154503" y="2191670"/>
              <a:ext cx="8426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</a:t>
              </a: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-43869" y="1389294"/>
            <a:ext cx="3711777" cy="284928"/>
            <a:chOff x="2373793" y="2152963"/>
            <a:chExt cx="3623385" cy="284928"/>
          </a:xfrm>
        </p:grpSpPr>
        <p:sp>
          <p:nvSpPr>
            <p:cNvPr id="137" name="Rectangle 136"/>
            <p:cNvSpPr/>
            <p:nvPr/>
          </p:nvSpPr>
          <p:spPr>
            <a:xfrm>
              <a:off x="2881313" y="2225707"/>
              <a:ext cx="2273190" cy="180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ition</a:t>
              </a: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2373793" y="2152963"/>
              <a:ext cx="5819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27 Apr</a:t>
              </a:r>
            </a:p>
          </p:txBody>
        </p:sp>
        <p:sp>
          <p:nvSpPr>
            <p:cNvPr id="139" name="Isosceles Triangle 138"/>
            <p:cNvSpPr/>
            <p:nvPr/>
          </p:nvSpPr>
          <p:spPr>
            <a:xfrm>
              <a:off x="2802663" y="2222734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Isosceles Triangle 139"/>
            <p:cNvSpPr/>
            <p:nvPr/>
          </p:nvSpPr>
          <p:spPr>
            <a:xfrm>
              <a:off x="5068339" y="2225800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5154503" y="2191670"/>
              <a:ext cx="8426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Ju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45457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Transition Schedule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89426" y="891776"/>
          <a:ext cx="9432185" cy="518898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10552">
                  <a:extLst>
                    <a:ext uri="{9D8B030D-6E8A-4147-A177-3AD203B41FA5}">
                      <a16:colId xmlns="" xmlns:a16="http://schemas.microsoft.com/office/drawing/2014/main" val="3849059906"/>
                    </a:ext>
                  </a:extLst>
                </a:gridCol>
                <a:gridCol w="353905">
                  <a:extLst>
                    <a:ext uri="{9D8B030D-6E8A-4147-A177-3AD203B41FA5}">
                      <a16:colId xmlns="" xmlns:a16="http://schemas.microsoft.com/office/drawing/2014/main" val="3826514067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2550091978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3403654835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1072737192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2559309268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915526007"/>
                    </a:ext>
                  </a:extLst>
                </a:gridCol>
                <a:gridCol w="1024128">
                  <a:extLst>
                    <a:ext uri="{9D8B030D-6E8A-4147-A177-3AD203B41FA5}">
                      <a16:colId xmlns="" xmlns:a16="http://schemas.microsoft.com/office/drawing/2014/main" val="2273400354"/>
                    </a:ext>
                  </a:extLst>
                </a:gridCol>
                <a:gridCol w="822960">
                  <a:extLst>
                    <a:ext uri="{9D8B030D-6E8A-4147-A177-3AD203B41FA5}">
                      <a16:colId xmlns="" xmlns:a16="http://schemas.microsoft.com/office/drawing/2014/main" val="314883556"/>
                    </a:ext>
                  </a:extLst>
                </a:gridCol>
              </a:tblGrid>
              <a:tr h="362472">
                <a:tc>
                  <a:txBody>
                    <a:bodyPr/>
                    <a:lstStyle/>
                    <a:p>
                      <a:pPr algn="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3559756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sz="1200" b="1" dirty="0"/>
                        <a:t>0. Kick Off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29245575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="1" dirty="0"/>
                        <a:t>1. Information</a:t>
                      </a:r>
                      <a:r>
                        <a:rPr lang="en-US" sz="1200" b="1" baseline="0" dirty="0"/>
                        <a:t> Gather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368126689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sz="1200" b="1" dirty="0"/>
                        <a:t>2. Clarification Workshop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291791307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sz="1200" b="1" dirty="0"/>
                        <a:t>3.</a:t>
                      </a:r>
                      <a:r>
                        <a:rPr lang="en-US" sz="1200" b="1" baseline="0" dirty="0"/>
                        <a:t> Baseline SOP Processes</a:t>
                      </a:r>
                      <a:endParaRPr lang="en-US" sz="12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868011929"/>
                  </a:ext>
                </a:extLst>
              </a:tr>
              <a:tr h="1699024">
                <a:tc>
                  <a:txBody>
                    <a:bodyPr/>
                    <a:lstStyle/>
                    <a:p>
                      <a:r>
                        <a:rPr lang="en-US" sz="1200" b="1" dirty="0"/>
                        <a:t>4. Tools Deployment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100" b="0" baseline="0" dirty="0"/>
                        <a:t>ITSM + Portal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100" b="0" baseline="0" dirty="0"/>
                        <a:t>Server Monitoring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100" b="0" baseline="0" dirty="0"/>
                        <a:t>Network Monitoring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100" b="0" baseline="0" dirty="0"/>
                        <a:t>ITAM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100" b="0" baseline="0" dirty="0"/>
                        <a:t>System / Desktop Managemen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773018878"/>
                  </a:ext>
                </a:extLst>
              </a:tr>
              <a:tr h="1066266">
                <a:tc>
                  <a:txBody>
                    <a:bodyPr/>
                    <a:lstStyle/>
                    <a:p>
                      <a:endParaRPr lang="en-US" sz="1200" b="1" dirty="0"/>
                    </a:p>
                    <a:p>
                      <a:r>
                        <a:rPr lang="en-US" sz="1200" b="1" dirty="0"/>
                        <a:t>5. Staff</a:t>
                      </a:r>
                      <a:r>
                        <a:rPr lang="en-US" sz="1200" b="1" baseline="0" dirty="0"/>
                        <a:t> Onboarding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100" b="0" baseline="0" dirty="0"/>
                        <a:t>EUC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100" b="0" baseline="0" dirty="0"/>
                        <a:t>SD Agents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100" b="0" baseline="0" dirty="0"/>
                        <a:t>SME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endParaRPr lang="en-US" sz="1100" b="0" baseline="0" dirty="0"/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Ø"/>
                      </a:pPr>
                      <a:endParaRPr lang="en-US" sz="1100" b="0" baseline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4251292724"/>
                  </a:ext>
                </a:extLst>
              </a:tr>
            </a:tbl>
          </a:graphicData>
        </a:graphic>
      </p:graphicFrame>
      <p:grpSp>
        <p:nvGrpSpPr>
          <p:cNvPr id="37" name="Group 36"/>
          <p:cNvGrpSpPr/>
          <p:nvPr/>
        </p:nvGrpSpPr>
        <p:grpSpPr>
          <a:xfrm>
            <a:off x="2743056" y="1341214"/>
            <a:ext cx="841732" cy="246221"/>
            <a:chOff x="2807676" y="1658969"/>
            <a:chExt cx="841732" cy="258383"/>
          </a:xfrm>
        </p:grpSpPr>
        <p:sp>
          <p:nvSpPr>
            <p:cNvPr id="6" name="Rectangle 5"/>
            <p:cNvSpPr/>
            <p:nvPr/>
          </p:nvSpPr>
          <p:spPr>
            <a:xfrm>
              <a:off x="3390099" y="1658969"/>
              <a:ext cx="134216" cy="191913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807676" y="1658969"/>
              <a:ext cx="841732" cy="2583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27 Apr</a:t>
              </a:r>
            </a:p>
          </p:txBody>
        </p:sp>
        <p:sp>
          <p:nvSpPr>
            <p:cNvPr id="16" name="Isosceles Triangle 15"/>
            <p:cNvSpPr/>
            <p:nvPr/>
          </p:nvSpPr>
          <p:spPr>
            <a:xfrm>
              <a:off x="3311895" y="1687748"/>
              <a:ext cx="156408" cy="16313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291237" y="892194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15 Apr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39346" y="903520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May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276505" y="898713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15 May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318123" y="902762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Ju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266232" y="901809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15 Ju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298896" y="892194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Jul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247042" y="892197"/>
            <a:ext cx="970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2101335" y="1818937"/>
            <a:ext cx="3218766" cy="249629"/>
            <a:chOff x="2286697" y="2220988"/>
            <a:chExt cx="3142112" cy="249629"/>
          </a:xfrm>
        </p:grpSpPr>
        <p:sp>
          <p:nvSpPr>
            <p:cNvPr id="27" name="Rectangle 26"/>
            <p:cNvSpPr/>
            <p:nvPr/>
          </p:nvSpPr>
          <p:spPr>
            <a:xfrm>
              <a:off x="2881314" y="2225707"/>
              <a:ext cx="1703360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286697" y="2224396"/>
              <a:ext cx="7887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8 Apr</a:t>
              </a:r>
            </a:p>
          </p:txBody>
        </p:sp>
        <p:sp>
          <p:nvSpPr>
            <p:cNvPr id="29" name="Isosceles Triangle 28"/>
            <p:cNvSpPr/>
            <p:nvPr/>
          </p:nvSpPr>
          <p:spPr>
            <a:xfrm>
              <a:off x="2805762" y="2251310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Isosceles Triangle 29"/>
            <p:cNvSpPr/>
            <p:nvPr/>
          </p:nvSpPr>
          <p:spPr>
            <a:xfrm>
              <a:off x="4506455" y="2254471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586134" y="2220988"/>
              <a:ext cx="8426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3 May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3482888" y="2278567"/>
            <a:ext cx="1809311" cy="249788"/>
            <a:chOff x="2718166" y="2201522"/>
            <a:chExt cx="1766220" cy="249788"/>
          </a:xfrm>
        </p:grpSpPr>
        <p:sp>
          <p:nvSpPr>
            <p:cNvPr id="39" name="Rectangle 38"/>
            <p:cNvSpPr/>
            <p:nvPr/>
          </p:nvSpPr>
          <p:spPr>
            <a:xfrm>
              <a:off x="3326782" y="2225707"/>
              <a:ext cx="343958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718166" y="2205089"/>
              <a:ext cx="86334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9 May</a:t>
              </a:r>
            </a:p>
          </p:txBody>
        </p:sp>
        <p:sp>
          <p:nvSpPr>
            <p:cNvPr id="41" name="Isosceles Triangle 40"/>
            <p:cNvSpPr/>
            <p:nvPr/>
          </p:nvSpPr>
          <p:spPr>
            <a:xfrm>
              <a:off x="3249739" y="2249723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>
              <a:off x="3589037" y="2252884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669117" y="2201522"/>
              <a:ext cx="81526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3 May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481356" y="2727772"/>
            <a:ext cx="2175957" cy="247876"/>
            <a:chOff x="2267937" y="2206222"/>
            <a:chExt cx="2124122" cy="247876"/>
          </a:xfrm>
        </p:grpSpPr>
        <p:sp>
          <p:nvSpPr>
            <p:cNvPr id="45" name="Rectangle 44"/>
            <p:cNvSpPr/>
            <p:nvPr/>
          </p:nvSpPr>
          <p:spPr>
            <a:xfrm>
              <a:off x="2881314" y="2225707"/>
              <a:ext cx="707722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267937" y="2206222"/>
              <a:ext cx="86410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30 May</a:t>
              </a:r>
            </a:p>
          </p:txBody>
        </p:sp>
        <p:sp>
          <p:nvSpPr>
            <p:cNvPr id="47" name="Isosceles Triangle 46"/>
            <p:cNvSpPr/>
            <p:nvPr/>
          </p:nvSpPr>
          <p:spPr>
            <a:xfrm>
              <a:off x="2805762" y="2252104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Isosceles Triangle 47"/>
            <p:cNvSpPr/>
            <p:nvPr/>
          </p:nvSpPr>
          <p:spPr>
            <a:xfrm>
              <a:off x="3508452" y="2252884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3608799" y="2207877"/>
              <a:ext cx="7832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3 Jun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3006571" y="3523053"/>
            <a:ext cx="4258804" cy="246699"/>
            <a:chOff x="2296203" y="2219674"/>
            <a:chExt cx="4157368" cy="246699"/>
          </a:xfrm>
        </p:grpSpPr>
        <p:sp>
          <p:nvSpPr>
            <p:cNvPr id="51" name="Rectangle 50"/>
            <p:cNvSpPr/>
            <p:nvPr/>
          </p:nvSpPr>
          <p:spPr>
            <a:xfrm>
              <a:off x="2881315" y="2225707"/>
              <a:ext cx="2956294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SM + Self Service Portal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2296203" y="2220152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May</a:t>
              </a:r>
            </a:p>
          </p:txBody>
        </p:sp>
        <p:sp>
          <p:nvSpPr>
            <p:cNvPr id="53" name="Isosceles Triangle 52"/>
            <p:cNvSpPr/>
            <p:nvPr/>
          </p:nvSpPr>
          <p:spPr>
            <a:xfrm>
              <a:off x="2805762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Isosceles Triangle 53"/>
            <p:cNvSpPr/>
            <p:nvPr/>
          </p:nvSpPr>
          <p:spPr>
            <a:xfrm>
              <a:off x="5760174" y="225764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831207" y="221967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3474321" y="3718625"/>
            <a:ext cx="3786475" cy="246222"/>
            <a:chOff x="2450403" y="2224494"/>
            <a:chExt cx="3696286" cy="246222"/>
          </a:xfrm>
        </p:grpSpPr>
        <p:sp>
          <p:nvSpPr>
            <p:cNvPr id="65" name="Rectangle 64"/>
            <p:cNvSpPr/>
            <p:nvPr/>
          </p:nvSpPr>
          <p:spPr>
            <a:xfrm>
              <a:off x="3035852" y="2225707"/>
              <a:ext cx="2499345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er Monitoring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2450403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6 May</a:t>
              </a:r>
            </a:p>
          </p:txBody>
        </p:sp>
        <p:sp>
          <p:nvSpPr>
            <p:cNvPr id="67" name="Isosceles Triangle 66"/>
            <p:cNvSpPr/>
            <p:nvPr/>
          </p:nvSpPr>
          <p:spPr>
            <a:xfrm>
              <a:off x="2963840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Isosceles Triangle 67"/>
            <p:cNvSpPr/>
            <p:nvPr/>
          </p:nvSpPr>
          <p:spPr>
            <a:xfrm>
              <a:off x="5455653" y="225764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524325" y="2224495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3474321" y="4112596"/>
            <a:ext cx="3800758" cy="246222"/>
            <a:chOff x="2450403" y="2224494"/>
            <a:chExt cx="3710229" cy="246222"/>
          </a:xfrm>
        </p:grpSpPr>
        <p:sp>
          <p:nvSpPr>
            <p:cNvPr id="71" name="Rectangle 70"/>
            <p:cNvSpPr/>
            <p:nvPr/>
          </p:nvSpPr>
          <p:spPr>
            <a:xfrm>
              <a:off x="3035851" y="2225707"/>
              <a:ext cx="2512596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Asset Management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450403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6 May</a:t>
              </a:r>
            </a:p>
          </p:txBody>
        </p:sp>
        <p:sp>
          <p:nvSpPr>
            <p:cNvPr id="73" name="Isosceles Triangle 72"/>
            <p:cNvSpPr/>
            <p:nvPr/>
          </p:nvSpPr>
          <p:spPr>
            <a:xfrm>
              <a:off x="2963840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Isosceles Triangle 73"/>
            <p:cNvSpPr/>
            <p:nvPr/>
          </p:nvSpPr>
          <p:spPr>
            <a:xfrm>
              <a:off x="5469601" y="225764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5538268" y="2224495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6557134" y="3720113"/>
            <a:ext cx="3096882" cy="184763"/>
            <a:chOff x="2913816" y="2225707"/>
            <a:chExt cx="5160696" cy="184763"/>
          </a:xfrm>
        </p:grpSpPr>
        <p:sp>
          <p:nvSpPr>
            <p:cNvPr id="96" name="Rectangle 95"/>
            <p:cNvSpPr/>
            <p:nvPr/>
          </p:nvSpPr>
          <p:spPr>
            <a:xfrm>
              <a:off x="3035851" y="2225707"/>
              <a:ext cx="5038661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ent Roll Out</a:t>
              </a:r>
            </a:p>
          </p:txBody>
        </p:sp>
        <p:sp>
          <p:nvSpPr>
            <p:cNvPr id="98" name="Isosceles Triangle 97"/>
            <p:cNvSpPr/>
            <p:nvPr/>
          </p:nvSpPr>
          <p:spPr>
            <a:xfrm>
              <a:off x="2913816" y="2254485"/>
              <a:ext cx="272093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3491101" y="4315717"/>
            <a:ext cx="3779324" cy="246222"/>
            <a:chOff x="2450403" y="2224494"/>
            <a:chExt cx="3689308" cy="246222"/>
          </a:xfrm>
        </p:grpSpPr>
        <p:sp>
          <p:nvSpPr>
            <p:cNvPr id="100" name="Rectangle 99"/>
            <p:cNvSpPr/>
            <p:nvPr/>
          </p:nvSpPr>
          <p:spPr>
            <a:xfrm>
              <a:off x="3035852" y="2225707"/>
              <a:ext cx="2499346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stem / Desktop Management</a:t>
              </a: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2450403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6 May</a:t>
              </a:r>
            </a:p>
          </p:txBody>
        </p:sp>
        <p:sp>
          <p:nvSpPr>
            <p:cNvPr id="102" name="Isosceles Triangle 101"/>
            <p:cNvSpPr/>
            <p:nvPr/>
          </p:nvSpPr>
          <p:spPr>
            <a:xfrm>
              <a:off x="2963840" y="2254485"/>
              <a:ext cx="151746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Isosceles Triangle 102"/>
            <p:cNvSpPr/>
            <p:nvPr/>
          </p:nvSpPr>
          <p:spPr>
            <a:xfrm>
              <a:off x="5448684" y="2257646"/>
              <a:ext cx="151746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5517347" y="2224495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2989824" y="3326993"/>
            <a:ext cx="6668526" cy="246221"/>
            <a:chOff x="2296203" y="2220152"/>
            <a:chExt cx="6509695" cy="246221"/>
          </a:xfrm>
        </p:grpSpPr>
        <p:sp>
          <p:nvSpPr>
            <p:cNvPr id="106" name="Rectangle 105"/>
            <p:cNvSpPr/>
            <p:nvPr/>
          </p:nvSpPr>
          <p:spPr>
            <a:xfrm>
              <a:off x="2881315" y="2225707"/>
              <a:ext cx="5924583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2296203" y="2220152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May</a:t>
              </a:r>
            </a:p>
          </p:txBody>
        </p:sp>
        <p:sp>
          <p:nvSpPr>
            <p:cNvPr id="108" name="Isosceles Triangle 107"/>
            <p:cNvSpPr/>
            <p:nvPr/>
          </p:nvSpPr>
          <p:spPr>
            <a:xfrm>
              <a:off x="2805762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3667277" y="4995966"/>
            <a:ext cx="3803482" cy="247876"/>
            <a:chOff x="2312565" y="2206222"/>
            <a:chExt cx="3712872" cy="247876"/>
          </a:xfrm>
        </p:grpSpPr>
        <p:sp>
          <p:nvSpPr>
            <p:cNvPr id="112" name="Rectangle 111"/>
            <p:cNvSpPr/>
            <p:nvPr/>
          </p:nvSpPr>
          <p:spPr>
            <a:xfrm>
              <a:off x="2881314" y="2225707"/>
              <a:ext cx="2345406" cy="18000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312565" y="2206222"/>
              <a:ext cx="86410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9 May</a:t>
              </a:r>
            </a:p>
          </p:txBody>
        </p:sp>
        <p:sp>
          <p:nvSpPr>
            <p:cNvPr id="114" name="Isosceles Triangle 113"/>
            <p:cNvSpPr/>
            <p:nvPr/>
          </p:nvSpPr>
          <p:spPr>
            <a:xfrm>
              <a:off x="2805762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Isosceles Triangle 114"/>
            <p:cNvSpPr/>
            <p:nvPr/>
          </p:nvSpPr>
          <p:spPr>
            <a:xfrm>
              <a:off x="5141836" y="2252883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5242177" y="2207877"/>
              <a:ext cx="7832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5963801" y="4501856"/>
            <a:ext cx="3624860" cy="246221"/>
            <a:chOff x="2450403" y="2224494"/>
            <a:chExt cx="3084794" cy="246221"/>
          </a:xfrm>
        </p:grpSpPr>
        <p:sp>
          <p:nvSpPr>
            <p:cNvPr id="118" name="Rectangle 117"/>
            <p:cNvSpPr/>
            <p:nvPr/>
          </p:nvSpPr>
          <p:spPr>
            <a:xfrm>
              <a:off x="3035852" y="2225707"/>
              <a:ext cx="2499345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e - Tuning</a:t>
              </a: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2450403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  <p:sp>
          <p:nvSpPr>
            <p:cNvPr id="120" name="Isosceles Triangle 119"/>
            <p:cNvSpPr/>
            <p:nvPr/>
          </p:nvSpPr>
          <p:spPr>
            <a:xfrm>
              <a:off x="2963840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3678554" y="5213064"/>
            <a:ext cx="3599161" cy="246222"/>
            <a:chOff x="2416310" y="2224494"/>
            <a:chExt cx="3513430" cy="246222"/>
          </a:xfrm>
        </p:grpSpPr>
        <p:sp>
          <p:nvSpPr>
            <p:cNvPr id="142" name="Rectangle 141"/>
            <p:cNvSpPr/>
            <p:nvPr/>
          </p:nvSpPr>
          <p:spPr>
            <a:xfrm>
              <a:off x="3000014" y="2225707"/>
              <a:ext cx="2316202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UC Engineers</a:t>
              </a: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2416310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9 May</a:t>
              </a:r>
            </a:p>
          </p:txBody>
        </p:sp>
        <p:sp>
          <p:nvSpPr>
            <p:cNvPr id="144" name="Isosceles Triangle 143"/>
            <p:cNvSpPr/>
            <p:nvPr/>
          </p:nvSpPr>
          <p:spPr>
            <a:xfrm>
              <a:off x="2923546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Isosceles Triangle 144"/>
            <p:cNvSpPr/>
            <p:nvPr/>
          </p:nvSpPr>
          <p:spPr>
            <a:xfrm>
              <a:off x="5238693" y="225764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5307376" y="2224495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4234181" y="5408910"/>
            <a:ext cx="3030029" cy="246222"/>
            <a:chOff x="2450403" y="2224494"/>
            <a:chExt cx="2957861" cy="246222"/>
          </a:xfrm>
        </p:grpSpPr>
        <p:sp>
          <p:nvSpPr>
            <p:cNvPr id="148" name="Rectangle 147"/>
            <p:cNvSpPr/>
            <p:nvPr/>
          </p:nvSpPr>
          <p:spPr>
            <a:xfrm>
              <a:off x="3035852" y="2225707"/>
              <a:ext cx="1765119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 Desk Agents</a:t>
              </a: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2450403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21 May</a:t>
              </a:r>
            </a:p>
          </p:txBody>
        </p:sp>
        <p:sp>
          <p:nvSpPr>
            <p:cNvPr id="150" name="Isosceles Triangle 149"/>
            <p:cNvSpPr/>
            <p:nvPr/>
          </p:nvSpPr>
          <p:spPr>
            <a:xfrm>
              <a:off x="2963840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Isosceles Triangle 150"/>
            <p:cNvSpPr/>
            <p:nvPr/>
          </p:nvSpPr>
          <p:spPr>
            <a:xfrm>
              <a:off x="4721886" y="225764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4785900" y="2224495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4041108" y="5612983"/>
            <a:ext cx="3239572" cy="246222"/>
            <a:chOff x="2989702" y="2224494"/>
            <a:chExt cx="3162407" cy="246222"/>
          </a:xfrm>
        </p:grpSpPr>
        <p:sp>
          <p:nvSpPr>
            <p:cNvPr id="154" name="Rectangle 153"/>
            <p:cNvSpPr/>
            <p:nvPr/>
          </p:nvSpPr>
          <p:spPr>
            <a:xfrm>
              <a:off x="3582349" y="2225707"/>
              <a:ext cx="1952848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ME</a:t>
              </a:r>
            </a:p>
          </p:txBody>
        </p:sp>
        <p:sp>
          <p:nvSpPr>
            <p:cNvPr id="155" name="TextBox 154"/>
            <p:cNvSpPr txBox="1"/>
            <p:nvPr/>
          </p:nvSpPr>
          <p:spPr>
            <a:xfrm>
              <a:off x="2989702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6 May</a:t>
              </a:r>
            </a:p>
          </p:txBody>
        </p:sp>
        <p:sp>
          <p:nvSpPr>
            <p:cNvPr id="156" name="Isosceles Triangle 155"/>
            <p:cNvSpPr/>
            <p:nvPr/>
          </p:nvSpPr>
          <p:spPr>
            <a:xfrm>
              <a:off x="3503147" y="2254485"/>
              <a:ext cx="151746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Isosceles Triangle 156"/>
            <p:cNvSpPr/>
            <p:nvPr/>
          </p:nvSpPr>
          <p:spPr>
            <a:xfrm>
              <a:off x="5461082" y="2257646"/>
              <a:ext cx="151746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5529745" y="2224495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3480127" y="3916795"/>
            <a:ext cx="3779324" cy="246222"/>
            <a:chOff x="2450403" y="2224494"/>
            <a:chExt cx="3689308" cy="246222"/>
          </a:xfrm>
        </p:grpSpPr>
        <p:sp>
          <p:nvSpPr>
            <p:cNvPr id="109" name="Rectangle 108"/>
            <p:cNvSpPr/>
            <p:nvPr/>
          </p:nvSpPr>
          <p:spPr>
            <a:xfrm>
              <a:off x="3035852" y="2225707"/>
              <a:ext cx="2499346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 Monitoring</a:t>
              </a: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2450403" y="2224494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6 May</a:t>
              </a:r>
            </a:p>
          </p:txBody>
        </p:sp>
        <p:sp>
          <p:nvSpPr>
            <p:cNvPr id="121" name="Isosceles Triangle 120"/>
            <p:cNvSpPr/>
            <p:nvPr/>
          </p:nvSpPr>
          <p:spPr>
            <a:xfrm>
              <a:off x="2963840" y="2254485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Isosceles Triangle 121"/>
            <p:cNvSpPr/>
            <p:nvPr/>
          </p:nvSpPr>
          <p:spPr>
            <a:xfrm>
              <a:off x="5448684" y="2257646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5517347" y="2224495"/>
              <a:ext cx="6223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5 Jun</a:t>
              </a: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6561085" y="3915728"/>
            <a:ext cx="3096882" cy="184763"/>
            <a:chOff x="2913816" y="2225707"/>
            <a:chExt cx="5160696" cy="184763"/>
          </a:xfrm>
        </p:grpSpPr>
        <p:sp>
          <p:nvSpPr>
            <p:cNvPr id="125" name="Rectangle 124"/>
            <p:cNvSpPr/>
            <p:nvPr/>
          </p:nvSpPr>
          <p:spPr>
            <a:xfrm>
              <a:off x="3035851" y="2225707"/>
              <a:ext cx="5038661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e - Tuning</a:t>
              </a:r>
            </a:p>
          </p:txBody>
        </p:sp>
        <p:sp>
          <p:nvSpPr>
            <p:cNvPr id="126" name="Isosceles Triangle 125"/>
            <p:cNvSpPr/>
            <p:nvPr/>
          </p:nvSpPr>
          <p:spPr>
            <a:xfrm>
              <a:off x="2913816" y="2254485"/>
              <a:ext cx="272093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7" name="Group 126"/>
          <p:cNvGrpSpPr/>
          <p:nvPr/>
        </p:nvGrpSpPr>
        <p:grpSpPr>
          <a:xfrm>
            <a:off x="6570609" y="4316520"/>
            <a:ext cx="3096882" cy="184763"/>
            <a:chOff x="2913816" y="2225707"/>
            <a:chExt cx="5160696" cy="184763"/>
          </a:xfrm>
        </p:grpSpPr>
        <p:sp>
          <p:nvSpPr>
            <p:cNvPr id="128" name="Rectangle 127"/>
            <p:cNvSpPr/>
            <p:nvPr/>
          </p:nvSpPr>
          <p:spPr>
            <a:xfrm>
              <a:off x="3035851" y="2225707"/>
              <a:ext cx="5038661" cy="18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ent Roll Out</a:t>
              </a:r>
            </a:p>
          </p:txBody>
        </p:sp>
        <p:sp>
          <p:nvSpPr>
            <p:cNvPr id="129" name="Isosceles Triangle 128"/>
            <p:cNvSpPr/>
            <p:nvPr/>
          </p:nvSpPr>
          <p:spPr>
            <a:xfrm>
              <a:off x="2913816" y="2254485"/>
              <a:ext cx="272093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78665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bilization Schedule</a:t>
            </a:r>
            <a:endParaRPr lang="en-US" dirty="0"/>
          </a:p>
        </p:txBody>
      </p:sp>
      <p:graphicFrame>
        <p:nvGraphicFramePr>
          <p:cNvPr id="31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-52711" y="935791"/>
          <a:ext cx="9223216" cy="1645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48640">
                  <a:extLst>
                    <a:ext uri="{9D8B030D-6E8A-4147-A177-3AD203B41FA5}">
                      <a16:colId xmlns="" xmlns:a16="http://schemas.microsoft.com/office/drawing/2014/main" val="3826514067"/>
                    </a:ext>
                  </a:extLst>
                </a:gridCol>
                <a:gridCol w="1160848">
                  <a:extLst>
                    <a:ext uri="{9D8B030D-6E8A-4147-A177-3AD203B41FA5}">
                      <a16:colId xmlns="" xmlns:a16="http://schemas.microsoft.com/office/drawing/2014/main" val="2550091978"/>
                    </a:ext>
                  </a:extLst>
                </a:gridCol>
                <a:gridCol w="1160848">
                  <a:extLst>
                    <a:ext uri="{9D8B030D-6E8A-4147-A177-3AD203B41FA5}">
                      <a16:colId xmlns="" xmlns:a16="http://schemas.microsoft.com/office/drawing/2014/main" val="3403654835"/>
                    </a:ext>
                  </a:extLst>
                </a:gridCol>
                <a:gridCol w="1160848">
                  <a:extLst>
                    <a:ext uri="{9D8B030D-6E8A-4147-A177-3AD203B41FA5}">
                      <a16:colId xmlns="" xmlns:a16="http://schemas.microsoft.com/office/drawing/2014/main" val="1072737192"/>
                    </a:ext>
                  </a:extLst>
                </a:gridCol>
                <a:gridCol w="1160848">
                  <a:extLst>
                    <a:ext uri="{9D8B030D-6E8A-4147-A177-3AD203B41FA5}">
                      <a16:colId xmlns="" xmlns:a16="http://schemas.microsoft.com/office/drawing/2014/main" val="2559309268"/>
                    </a:ext>
                  </a:extLst>
                </a:gridCol>
                <a:gridCol w="1160848">
                  <a:extLst>
                    <a:ext uri="{9D8B030D-6E8A-4147-A177-3AD203B41FA5}">
                      <a16:colId xmlns="" xmlns:a16="http://schemas.microsoft.com/office/drawing/2014/main" val="4124438956"/>
                    </a:ext>
                  </a:extLst>
                </a:gridCol>
                <a:gridCol w="1160848">
                  <a:extLst>
                    <a:ext uri="{9D8B030D-6E8A-4147-A177-3AD203B41FA5}">
                      <a16:colId xmlns="" xmlns:a16="http://schemas.microsoft.com/office/drawing/2014/main" val="1236168644"/>
                    </a:ext>
                  </a:extLst>
                </a:gridCol>
                <a:gridCol w="1160848">
                  <a:extLst>
                    <a:ext uri="{9D8B030D-6E8A-4147-A177-3AD203B41FA5}">
                      <a16:colId xmlns="" xmlns:a16="http://schemas.microsoft.com/office/drawing/2014/main" val="915526007"/>
                    </a:ext>
                  </a:extLst>
                </a:gridCol>
                <a:gridCol w="548640">
                  <a:extLst>
                    <a:ext uri="{9D8B030D-6E8A-4147-A177-3AD203B41FA5}">
                      <a16:colId xmlns="" xmlns:a16="http://schemas.microsoft.com/office/drawing/2014/main" val="314883556"/>
                    </a:ext>
                  </a:extLst>
                </a:gridCol>
              </a:tblGrid>
              <a:tr h="304849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35597567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24557503"/>
                  </a:ext>
                </a:extLst>
              </a:tr>
            </a:tbl>
          </a:graphicData>
        </a:graphic>
      </p:graphicFrame>
      <p:sp>
        <p:nvSpPr>
          <p:cNvPr id="32" name="TextBox 3"/>
          <p:cNvSpPr txBox="1"/>
          <p:nvPr/>
        </p:nvSpPr>
        <p:spPr>
          <a:xfrm>
            <a:off x="214203" y="1034802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27 Apr</a:t>
            </a:r>
          </a:p>
        </p:txBody>
      </p:sp>
      <p:sp>
        <p:nvSpPr>
          <p:cNvPr id="33" name="TextBox 4"/>
          <p:cNvSpPr txBox="1"/>
          <p:nvPr/>
        </p:nvSpPr>
        <p:spPr>
          <a:xfrm>
            <a:off x="3586480" y="1012362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Aug</a:t>
            </a:r>
          </a:p>
        </p:txBody>
      </p:sp>
      <p:sp>
        <p:nvSpPr>
          <p:cNvPr id="34" name="TextBox 5"/>
          <p:cNvSpPr txBox="1"/>
          <p:nvPr/>
        </p:nvSpPr>
        <p:spPr>
          <a:xfrm>
            <a:off x="4755949" y="998294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Sep</a:t>
            </a:r>
          </a:p>
        </p:txBody>
      </p:sp>
      <p:sp>
        <p:nvSpPr>
          <p:cNvPr id="35" name="TextBox 6"/>
          <p:cNvSpPr txBox="1"/>
          <p:nvPr/>
        </p:nvSpPr>
        <p:spPr>
          <a:xfrm>
            <a:off x="2430460" y="1017600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Jul</a:t>
            </a:r>
          </a:p>
        </p:txBody>
      </p:sp>
      <p:sp>
        <p:nvSpPr>
          <p:cNvPr id="36" name="TextBox 7"/>
          <p:cNvSpPr txBox="1"/>
          <p:nvPr/>
        </p:nvSpPr>
        <p:spPr>
          <a:xfrm>
            <a:off x="8204213" y="992598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01 Dec</a:t>
            </a:r>
          </a:p>
        </p:txBody>
      </p:sp>
      <p:grpSp>
        <p:nvGrpSpPr>
          <p:cNvPr id="37" name="Group 12"/>
          <p:cNvGrpSpPr/>
          <p:nvPr/>
        </p:nvGrpSpPr>
        <p:grpSpPr>
          <a:xfrm>
            <a:off x="4530322" y="2140573"/>
            <a:ext cx="4956372" cy="246828"/>
            <a:chOff x="2299410" y="2191063"/>
            <a:chExt cx="4838344" cy="246828"/>
          </a:xfrm>
        </p:grpSpPr>
        <p:sp>
          <p:nvSpPr>
            <p:cNvPr id="38" name="Rectangle 13"/>
            <p:cNvSpPr/>
            <p:nvPr/>
          </p:nvSpPr>
          <p:spPr>
            <a:xfrm>
              <a:off x="2881313" y="2225707"/>
              <a:ext cx="3417083" cy="180000"/>
            </a:xfrm>
            <a:prstGeom prst="rect">
              <a:avLst/>
            </a:prstGeom>
            <a:solidFill>
              <a:srgbClr val="80808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ormation</a:t>
              </a:r>
            </a:p>
          </p:txBody>
        </p:sp>
        <p:sp>
          <p:nvSpPr>
            <p:cNvPr id="39" name="TextBox 14"/>
            <p:cNvSpPr txBox="1"/>
            <p:nvPr/>
          </p:nvSpPr>
          <p:spPr>
            <a:xfrm>
              <a:off x="2299410" y="2191063"/>
              <a:ext cx="5819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</a:t>
              </a:r>
            </a:p>
          </p:txBody>
        </p:sp>
        <p:sp>
          <p:nvSpPr>
            <p:cNvPr id="40" name="Isosceles Triangle 15"/>
            <p:cNvSpPr/>
            <p:nvPr/>
          </p:nvSpPr>
          <p:spPr>
            <a:xfrm>
              <a:off x="2802663" y="2222734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Isosceles Triangle 16"/>
            <p:cNvSpPr/>
            <p:nvPr/>
          </p:nvSpPr>
          <p:spPr>
            <a:xfrm>
              <a:off x="6205816" y="2225800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TextBox 17"/>
            <p:cNvSpPr txBox="1"/>
            <p:nvPr/>
          </p:nvSpPr>
          <p:spPr>
            <a:xfrm>
              <a:off x="6295079" y="2191670"/>
              <a:ext cx="8426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Dec</a:t>
              </a:r>
            </a:p>
          </p:txBody>
        </p:sp>
      </p:grpSp>
      <p:grpSp>
        <p:nvGrpSpPr>
          <p:cNvPr id="43" name="Group 24"/>
          <p:cNvGrpSpPr/>
          <p:nvPr/>
        </p:nvGrpSpPr>
        <p:grpSpPr>
          <a:xfrm>
            <a:off x="2215355" y="1768060"/>
            <a:ext cx="3787976" cy="246828"/>
            <a:chOff x="2299410" y="2191063"/>
            <a:chExt cx="3697768" cy="246828"/>
          </a:xfrm>
        </p:grpSpPr>
        <p:sp>
          <p:nvSpPr>
            <p:cNvPr id="44" name="Rectangle 25"/>
            <p:cNvSpPr/>
            <p:nvPr/>
          </p:nvSpPr>
          <p:spPr>
            <a:xfrm>
              <a:off x="2881313" y="2225707"/>
              <a:ext cx="2273190" cy="180000"/>
            </a:xfrm>
            <a:prstGeom prst="rect">
              <a:avLst/>
            </a:prstGeom>
            <a:solidFill>
              <a:srgbClr val="FF0000"/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bilization</a:t>
              </a:r>
            </a:p>
          </p:txBody>
        </p:sp>
        <p:sp>
          <p:nvSpPr>
            <p:cNvPr id="45" name="TextBox 26"/>
            <p:cNvSpPr txBox="1"/>
            <p:nvPr/>
          </p:nvSpPr>
          <p:spPr>
            <a:xfrm>
              <a:off x="2299410" y="2191063"/>
              <a:ext cx="5819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Jul</a:t>
              </a:r>
            </a:p>
          </p:txBody>
        </p:sp>
        <p:sp>
          <p:nvSpPr>
            <p:cNvPr id="46" name="Isosceles Triangle 27"/>
            <p:cNvSpPr/>
            <p:nvPr/>
          </p:nvSpPr>
          <p:spPr>
            <a:xfrm>
              <a:off x="2802663" y="2222734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Isosceles Triangle 28"/>
            <p:cNvSpPr/>
            <p:nvPr/>
          </p:nvSpPr>
          <p:spPr>
            <a:xfrm>
              <a:off x="5068339" y="2225800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TextBox 29"/>
            <p:cNvSpPr txBox="1"/>
            <p:nvPr/>
          </p:nvSpPr>
          <p:spPr>
            <a:xfrm>
              <a:off x="5154503" y="2191670"/>
              <a:ext cx="8426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</a:t>
              </a:r>
            </a:p>
          </p:txBody>
        </p:sp>
      </p:grpSp>
      <p:grpSp>
        <p:nvGrpSpPr>
          <p:cNvPr id="49" name="Group 61"/>
          <p:cNvGrpSpPr/>
          <p:nvPr/>
        </p:nvGrpSpPr>
        <p:grpSpPr>
          <a:xfrm>
            <a:off x="-43869" y="1389294"/>
            <a:ext cx="3711776" cy="284928"/>
            <a:chOff x="2373793" y="2152963"/>
            <a:chExt cx="3623385" cy="284928"/>
          </a:xfrm>
        </p:grpSpPr>
        <p:sp>
          <p:nvSpPr>
            <p:cNvPr id="50" name="Rectangle 62"/>
            <p:cNvSpPr/>
            <p:nvPr/>
          </p:nvSpPr>
          <p:spPr>
            <a:xfrm>
              <a:off x="2881313" y="2225707"/>
              <a:ext cx="2273190" cy="180000"/>
            </a:xfrm>
            <a:prstGeom prst="rect">
              <a:avLst/>
            </a:prstGeom>
            <a:solidFill>
              <a:srgbClr val="808080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ition</a:t>
              </a:r>
            </a:p>
          </p:txBody>
        </p:sp>
        <p:sp>
          <p:nvSpPr>
            <p:cNvPr id="51" name="TextBox 63"/>
            <p:cNvSpPr txBox="1"/>
            <p:nvPr/>
          </p:nvSpPr>
          <p:spPr>
            <a:xfrm>
              <a:off x="2373793" y="2152963"/>
              <a:ext cx="5819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27 Apr</a:t>
              </a:r>
            </a:p>
          </p:txBody>
        </p:sp>
        <p:sp>
          <p:nvSpPr>
            <p:cNvPr id="52" name="Isosceles Triangle 64"/>
            <p:cNvSpPr/>
            <p:nvPr/>
          </p:nvSpPr>
          <p:spPr>
            <a:xfrm>
              <a:off x="2802663" y="2222734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Isosceles Triangle 65"/>
            <p:cNvSpPr/>
            <p:nvPr/>
          </p:nvSpPr>
          <p:spPr>
            <a:xfrm>
              <a:off x="5068340" y="2225800"/>
              <a:ext cx="1785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66"/>
            <p:cNvSpPr txBox="1"/>
            <p:nvPr/>
          </p:nvSpPr>
          <p:spPr>
            <a:xfrm>
              <a:off x="5154503" y="2191670"/>
              <a:ext cx="8426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Jul</a:t>
              </a:r>
            </a:p>
          </p:txBody>
        </p:sp>
      </p:grpSp>
      <p:sp>
        <p:nvSpPr>
          <p:cNvPr id="55" name="Rounded Rectangle 11"/>
          <p:cNvSpPr/>
          <p:nvPr/>
        </p:nvSpPr>
        <p:spPr>
          <a:xfrm>
            <a:off x="172517" y="2768278"/>
            <a:ext cx="8686800" cy="3337100"/>
          </a:xfrm>
          <a:prstGeom prst="roundRect">
            <a:avLst>
              <a:gd name="adj" fmla="val 7720"/>
            </a:avLst>
          </a:prstGeom>
          <a:solidFill>
            <a:srgbClr val="DFF4C8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200" b="1" dirty="0">
                <a:solidFill>
                  <a:schemeClr val="tx1"/>
                </a:solidFill>
              </a:rPr>
              <a:t>Stabilization Phase</a:t>
            </a:r>
            <a:endParaRPr lang="en-US" sz="2000" b="1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BAU operates as it is</a:t>
            </a:r>
            <a:endParaRPr lang="en-US" sz="20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CMDB collection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Trend collection and analysis reporting</a:t>
            </a:r>
            <a:endParaRPr lang="en-US" sz="20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System and desktop baseline standardization</a:t>
            </a:r>
            <a:endParaRPr lang="en-US" sz="20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Project reports fine-tuning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5748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17" y="421586"/>
            <a:ext cx="8686800" cy="369332"/>
          </a:xfrm>
        </p:spPr>
        <p:txBody>
          <a:bodyPr/>
          <a:lstStyle/>
          <a:p>
            <a:r>
              <a:rPr lang="en-US" dirty="0"/>
              <a:t>Transformation Timeline - </a:t>
            </a:r>
            <a:r>
              <a:rPr lang="en-US" sz="2000" dirty="0"/>
              <a:t>Asset Management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371501"/>
              </p:ext>
            </p:extLst>
          </p:nvPr>
        </p:nvGraphicFramePr>
        <p:xfrm>
          <a:off x="89426" y="909479"/>
          <a:ext cx="9521106" cy="521208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30449">
                  <a:extLst>
                    <a:ext uri="{9D8B030D-6E8A-4147-A177-3AD203B41FA5}">
                      <a16:colId xmlns="" xmlns:a16="http://schemas.microsoft.com/office/drawing/2014/main" val="3849059906"/>
                    </a:ext>
                  </a:extLst>
                </a:gridCol>
                <a:gridCol w="357241">
                  <a:extLst>
                    <a:ext uri="{9D8B030D-6E8A-4147-A177-3AD203B41FA5}">
                      <a16:colId xmlns="" xmlns:a16="http://schemas.microsoft.com/office/drawing/2014/main" val="3826514067"/>
                    </a:ext>
                  </a:extLst>
                </a:gridCol>
                <a:gridCol w="1033783">
                  <a:extLst>
                    <a:ext uri="{9D8B030D-6E8A-4147-A177-3AD203B41FA5}">
                      <a16:colId xmlns="" xmlns:a16="http://schemas.microsoft.com/office/drawing/2014/main" val="2550091978"/>
                    </a:ext>
                  </a:extLst>
                </a:gridCol>
                <a:gridCol w="1033783">
                  <a:extLst>
                    <a:ext uri="{9D8B030D-6E8A-4147-A177-3AD203B41FA5}">
                      <a16:colId xmlns="" xmlns:a16="http://schemas.microsoft.com/office/drawing/2014/main" val="3403654835"/>
                    </a:ext>
                  </a:extLst>
                </a:gridCol>
                <a:gridCol w="1033783">
                  <a:extLst>
                    <a:ext uri="{9D8B030D-6E8A-4147-A177-3AD203B41FA5}">
                      <a16:colId xmlns="" xmlns:a16="http://schemas.microsoft.com/office/drawing/2014/main" val="1072737192"/>
                    </a:ext>
                  </a:extLst>
                </a:gridCol>
                <a:gridCol w="1033783">
                  <a:extLst>
                    <a:ext uri="{9D8B030D-6E8A-4147-A177-3AD203B41FA5}">
                      <a16:colId xmlns="" xmlns:a16="http://schemas.microsoft.com/office/drawing/2014/main" val="2559309268"/>
                    </a:ext>
                  </a:extLst>
                </a:gridCol>
                <a:gridCol w="1033783">
                  <a:extLst>
                    <a:ext uri="{9D8B030D-6E8A-4147-A177-3AD203B41FA5}">
                      <a16:colId xmlns="" xmlns:a16="http://schemas.microsoft.com/office/drawing/2014/main" val="915526007"/>
                    </a:ext>
                  </a:extLst>
                </a:gridCol>
                <a:gridCol w="1033783">
                  <a:extLst>
                    <a:ext uri="{9D8B030D-6E8A-4147-A177-3AD203B41FA5}">
                      <a16:colId xmlns="" xmlns:a16="http://schemas.microsoft.com/office/drawing/2014/main" val="2273400354"/>
                    </a:ext>
                  </a:extLst>
                </a:gridCol>
                <a:gridCol w="830718">
                  <a:extLst>
                    <a:ext uri="{9D8B030D-6E8A-4147-A177-3AD203B41FA5}">
                      <a16:colId xmlns="" xmlns:a16="http://schemas.microsoft.com/office/drawing/2014/main" val="314883556"/>
                    </a:ext>
                  </a:extLst>
                </a:gridCol>
              </a:tblGrid>
              <a:tr h="500356">
                <a:tc>
                  <a:txBody>
                    <a:bodyPr/>
                    <a:lstStyle/>
                    <a:p>
                      <a:pPr algn="r"/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35597567"/>
                  </a:ext>
                </a:extLst>
              </a:tr>
              <a:tr h="625453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</a:pPr>
                      <a:r>
                        <a:rPr lang="en-US" sz="1200" b="1" dirty="0"/>
                        <a:t>1. Centralized Remote Control via</a:t>
                      </a:r>
                      <a:r>
                        <a:rPr lang="en-US" sz="1200" b="1" baseline="0" dirty="0"/>
                        <a:t> Console</a:t>
                      </a:r>
                      <a:endParaRPr lang="en-US" sz="1200" b="1" dirty="0"/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2924557503"/>
                  </a:ext>
                </a:extLst>
              </a:tr>
              <a:tr h="875631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b="1" dirty="0"/>
                        <a:t>2. Centralized Patch</a:t>
                      </a:r>
                      <a:r>
                        <a:rPr lang="en-US" sz="1200" b="1" baseline="0" dirty="0"/>
                        <a:t> Management with automated Deploymen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3681266895"/>
                  </a:ext>
                </a:extLst>
              </a:tr>
              <a:tr h="625453">
                <a:tc>
                  <a:txBody>
                    <a:bodyPr/>
                    <a:lstStyle/>
                    <a:p>
                      <a:r>
                        <a:rPr lang="en-US" sz="1200" b="1" dirty="0"/>
                        <a:t>3. Centralize Application Deploymen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2917913074"/>
                  </a:ext>
                </a:extLst>
              </a:tr>
              <a:tr h="625453">
                <a:tc>
                  <a:txBody>
                    <a:bodyPr/>
                    <a:lstStyle/>
                    <a:p>
                      <a:r>
                        <a:rPr lang="en-US" sz="1200" b="1" smtClean="0"/>
                        <a:t>4.</a:t>
                      </a:r>
                      <a:r>
                        <a:rPr lang="en-US" sz="1200" b="1" baseline="0" smtClean="0"/>
                        <a:t> Self-Service Application Deployment</a:t>
                      </a:r>
                      <a:endParaRPr lang="en-US" sz="1200" b="1" baseline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868011929"/>
                  </a:ext>
                </a:extLst>
              </a:tr>
              <a:tr h="583749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/>
                        <a:t>5. Software</a:t>
                      </a:r>
                      <a:r>
                        <a:rPr lang="en-US" sz="1100" b="1" baseline="0" dirty="0" smtClean="0"/>
                        <a:t> Metering</a:t>
                      </a:r>
                    </a:p>
                    <a:p>
                      <a:endParaRPr lang="en-US" sz="1100" b="0" baseline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773018878"/>
                  </a:ext>
                </a:extLst>
              </a:tr>
              <a:tr h="875631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6. Centralized</a:t>
                      </a:r>
                      <a:r>
                        <a:rPr lang="en-US" sz="1200" b="1" baseline="0" dirty="0" smtClean="0"/>
                        <a:t> Corporate Image Deployment Via OS deploymen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4251292724"/>
                  </a:ext>
                </a:extLst>
              </a:tr>
              <a:tr h="500356">
                <a:tc>
                  <a:txBody>
                    <a:bodyPr/>
                    <a:lstStyle/>
                    <a:p>
                      <a:r>
                        <a:rPr lang="en-US" sz="1100" b="1" baseline="0" dirty="0" smtClean="0"/>
                        <a:t>7. Centralized Reporting </a:t>
                      </a:r>
                      <a:endParaRPr lang="en-US" sz="1100" b="0" baseline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2323423" y="1003221"/>
            <a:ext cx="790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smtClean="0">
                <a:latin typeface="Arial" panose="020B0604020202020204" pitchFamily="34" charset="0"/>
                <a:cs typeface="Arial" panose="020B0604020202020204" pitchFamily="34" charset="0"/>
              </a:rPr>
              <a:t>Sep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338406" y="1008028"/>
            <a:ext cx="5345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smtClean="0">
                <a:latin typeface="Arial" panose="020B0604020202020204" pitchFamily="34" charset="0"/>
                <a:cs typeface="Arial" panose="020B0604020202020204" pitchFamily="34" charset="0"/>
              </a:rPr>
              <a:t>Oct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9547" y="1003221"/>
            <a:ext cx="6007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smtClean="0"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417594" y="1011012"/>
            <a:ext cx="555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smtClean="0"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476293" y="996702"/>
            <a:ext cx="5352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514044" y="1003221"/>
            <a:ext cx="5552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smtClean="0">
                <a:latin typeface="Arial" panose="020B0604020202020204" pitchFamily="34" charset="0"/>
                <a:cs typeface="Arial" panose="020B0604020202020204" pitchFamily="34" charset="0"/>
              </a:rPr>
              <a:t>Feb</a:t>
            </a:r>
            <a:endParaRPr lang="en-SG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247042" y="996705"/>
            <a:ext cx="970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b="1" dirty="0"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</a:p>
        </p:txBody>
      </p:sp>
      <p:grpSp>
        <p:nvGrpSpPr>
          <p:cNvPr id="36" name="Group 2"/>
          <p:cNvGrpSpPr/>
          <p:nvPr/>
        </p:nvGrpSpPr>
        <p:grpSpPr>
          <a:xfrm>
            <a:off x="2011579" y="2310407"/>
            <a:ext cx="3624793" cy="260409"/>
            <a:chOff x="2408167" y="2211776"/>
            <a:chExt cx="3020642" cy="231609"/>
          </a:xfrm>
        </p:grpSpPr>
        <p:sp>
          <p:nvSpPr>
            <p:cNvPr id="27" name="Rectangle 4"/>
            <p:cNvSpPr/>
            <p:nvPr/>
          </p:nvSpPr>
          <p:spPr>
            <a:xfrm>
              <a:off x="2881314" y="2225707"/>
              <a:ext cx="1703360" cy="162654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5"/>
            <p:cNvSpPr txBox="1"/>
            <p:nvPr/>
          </p:nvSpPr>
          <p:spPr>
            <a:xfrm>
              <a:off x="2408167" y="2224396"/>
              <a:ext cx="788714" cy="2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</a:t>
              </a:r>
            </a:p>
          </p:txBody>
        </p:sp>
        <p:sp>
          <p:nvSpPr>
            <p:cNvPr id="29" name="Isosceles Triangle 6"/>
            <p:cNvSpPr/>
            <p:nvPr/>
          </p:nvSpPr>
          <p:spPr>
            <a:xfrm>
              <a:off x="2805761" y="2211776"/>
              <a:ext cx="152399" cy="162654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Isosceles Triangle 7"/>
            <p:cNvSpPr/>
            <p:nvPr/>
          </p:nvSpPr>
          <p:spPr>
            <a:xfrm>
              <a:off x="4506454" y="2214940"/>
              <a:ext cx="152399" cy="162654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extBox 8"/>
            <p:cNvSpPr txBox="1"/>
            <p:nvPr/>
          </p:nvSpPr>
          <p:spPr>
            <a:xfrm>
              <a:off x="4586134" y="2220988"/>
              <a:ext cx="842675" cy="2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Nov</a:t>
              </a:r>
            </a:p>
          </p:txBody>
        </p:sp>
      </p:grpSp>
      <p:grpSp>
        <p:nvGrpSpPr>
          <p:cNvPr id="44" name="Group 15"/>
          <p:cNvGrpSpPr/>
          <p:nvPr/>
        </p:nvGrpSpPr>
        <p:grpSpPr>
          <a:xfrm>
            <a:off x="2981122" y="3676976"/>
            <a:ext cx="2493471" cy="255474"/>
            <a:chOff x="2267937" y="2206222"/>
            <a:chExt cx="2434070" cy="255474"/>
          </a:xfrm>
        </p:grpSpPr>
        <p:sp>
          <p:nvSpPr>
            <p:cNvPr id="45" name="Rectangle 16"/>
            <p:cNvSpPr/>
            <p:nvPr/>
          </p:nvSpPr>
          <p:spPr>
            <a:xfrm>
              <a:off x="2881314" y="2225706"/>
              <a:ext cx="1011043" cy="182880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TextBox 17"/>
            <p:cNvSpPr txBox="1"/>
            <p:nvPr/>
          </p:nvSpPr>
          <p:spPr>
            <a:xfrm>
              <a:off x="2267937" y="2206222"/>
              <a:ext cx="86410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Oct</a:t>
              </a:r>
            </a:p>
          </p:txBody>
        </p:sp>
        <p:sp>
          <p:nvSpPr>
            <p:cNvPr id="49" name="TextBox 18"/>
            <p:cNvSpPr txBox="1"/>
            <p:nvPr/>
          </p:nvSpPr>
          <p:spPr>
            <a:xfrm>
              <a:off x="3918747" y="2215475"/>
              <a:ext cx="7832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Nov</a:t>
              </a:r>
            </a:p>
          </p:txBody>
        </p:sp>
      </p:grpSp>
      <p:grpSp>
        <p:nvGrpSpPr>
          <p:cNvPr id="111" name="Group 36"/>
          <p:cNvGrpSpPr/>
          <p:nvPr/>
        </p:nvGrpSpPr>
        <p:grpSpPr>
          <a:xfrm>
            <a:off x="2981304" y="4323767"/>
            <a:ext cx="3419495" cy="248236"/>
            <a:chOff x="2229703" y="2206222"/>
            <a:chExt cx="3795733" cy="203842"/>
          </a:xfrm>
        </p:grpSpPr>
        <p:sp>
          <p:nvSpPr>
            <p:cNvPr id="112" name="Rectangle 37"/>
            <p:cNvSpPr/>
            <p:nvPr/>
          </p:nvSpPr>
          <p:spPr>
            <a:xfrm>
              <a:off x="2926052" y="2229412"/>
              <a:ext cx="2300669" cy="150174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TextBox 38"/>
            <p:cNvSpPr txBox="1"/>
            <p:nvPr/>
          </p:nvSpPr>
          <p:spPr>
            <a:xfrm>
              <a:off x="2229703" y="2206222"/>
              <a:ext cx="864104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Oct</a:t>
              </a:r>
            </a:p>
          </p:txBody>
        </p:sp>
        <p:sp>
          <p:nvSpPr>
            <p:cNvPr id="116" name="TextBox 39"/>
            <p:cNvSpPr txBox="1"/>
            <p:nvPr/>
          </p:nvSpPr>
          <p:spPr>
            <a:xfrm>
              <a:off x="5242177" y="2207877"/>
              <a:ext cx="783259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Dec</a:t>
              </a:r>
            </a:p>
          </p:txBody>
        </p:sp>
      </p:grpSp>
      <p:grpSp>
        <p:nvGrpSpPr>
          <p:cNvPr id="124" name="Group 101"/>
          <p:cNvGrpSpPr/>
          <p:nvPr/>
        </p:nvGrpSpPr>
        <p:grpSpPr>
          <a:xfrm>
            <a:off x="2004520" y="3135318"/>
            <a:ext cx="3657813" cy="250052"/>
            <a:chOff x="2399699" y="2220988"/>
            <a:chExt cx="3048160" cy="222397"/>
          </a:xfrm>
        </p:grpSpPr>
        <p:sp>
          <p:nvSpPr>
            <p:cNvPr id="125" name="Rectangle 102"/>
            <p:cNvSpPr/>
            <p:nvPr/>
          </p:nvSpPr>
          <p:spPr>
            <a:xfrm>
              <a:off x="2881314" y="2237003"/>
              <a:ext cx="1703360" cy="162654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TextBox 103"/>
            <p:cNvSpPr txBox="1"/>
            <p:nvPr/>
          </p:nvSpPr>
          <p:spPr>
            <a:xfrm>
              <a:off x="2399699" y="2224396"/>
              <a:ext cx="788714" cy="2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</a:t>
              </a:r>
            </a:p>
          </p:txBody>
        </p:sp>
        <p:sp>
          <p:nvSpPr>
            <p:cNvPr id="127" name="Isosceles Triangle 104"/>
            <p:cNvSpPr/>
            <p:nvPr/>
          </p:nvSpPr>
          <p:spPr>
            <a:xfrm>
              <a:off x="2805762" y="2242274"/>
              <a:ext cx="156408" cy="155985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TextBox 105"/>
            <p:cNvSpPr txBox="1"/>
            <p:nvPr/>
          </p:nvSpPr>
          <p:spPr>
            <a:xfrm>
              <a:off x="4605184" y="2220988"/>
              <a:ext cx="842675" cy="2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Nov</a:t>
              </a:r>
            </a:p>
          </p:txBody>
        </p:sp>
      </p:grpSp>
      <p:grpSp>
        <p:nvGrpSpPr>
          <p:cNvPr id="136" name="Group 117"/>
          <p:cNvGrpSpPr/>
          <p:nvPr/>
        </p:nvGrpSpPr>
        <p:grpSpPr>
          <a:xfrm>
            <a:off x="2981796" y="4999865"/>
            <a:ext cx="4584032" cy="202990"/>
            <a:chOff x="2195868" y="2175951"/>
            <a:chExt cx="5079401" cy="232458"/>
          </a:xfrm>
        </p:grpSpPr>
        <p:sp>
          <p:nvSpPr>
            <p:cNvPr id="137" name="Rectangle 118"/>
            <p:cNvSpPr/>
            <p:nvPr/>
          </p:nvSpPr>
          <p:spPr>
            <a:xfrm>
              <a:off x="2881314" y="2196619"/>
              <a:ext cx="3470634" cy="209429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TextBox 119"/>
            <p:cNvSpPr txBox="1"/>
            <p:nvPr/>
          </p:nvSpPr>
          <p:spPr>
            <a:xfrm>
              <a:off x="2195868" y="2206222"/>
              <a:ext cx="864104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Oct</a:t>
              </a:r>
            </a:p>
          </p:txBody>
        </p:sp>
        <p:sp>
          <p:nvSpPr>
            <p:cNvPr id="159" name="TextBox 120"/>
            <p:cNvSpPr txBox="1"/>
            <p:nvPr/>
          </p:nvSpPr>
          <p:spPr>
            <a:xfrm>
              <a:off x="6364556" y="2175951"/>
              <a:ext cx="910713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Jan </a:t>
              </a:r>
            </a:p>
          </p:txBody>
        </p:sp>
      </p:grpSp>
      <p:grpSp>
        <p:nvGrpSpPr>
          <p:cNvPr id="160" name="Group 132"/>
          <p:cNvGrpSpPr/>
          <p:nvPr/>
        </p:nvGrpSpPr>
        <p:grpSpPr>
          <a:xfrm>
            <a:off x="2002326" y="5759127"/>
            <a:ext cx="7706824" cy="246221"/>
            <a:chOff x="2249441" y="2206222"/>
            <a:chExt cx="8554783" cy="202187"/>
          </a:xfrm>
        </p:grpSpPr>
        <p:sp>
          <p:nvSpPr>
            <p:cNvPr id="161" name="Rectangle 133"/>
            <p:cNvSpPr/>
            <p:nvPr/>
          </p:nvSpPr>
          <p:spPr>
            <a:xfrm>
              <a:off x="2881313" y="2225707"/>
              <a:ext cx="7922911" cy="150174"/>
            </a:xfrm>
            <a:prstGeom prst="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TextBox 134"/>
            <p:cNvSpPr txBox="1"/>
            <p:nvPr/>
          </p:nvSpPr>
          <p:spPr>
            <a:xfrm>
              <a:off x="2249441" y="2206222"/>
              <a:ext cx="864104" cy="202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G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01 Sep</a:t>
              </a: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2013158" y="1594364"/>
            <a:ext cx="2482423" cy="253448"/>
            <a:chOff x="2013158" y="1594364"/>
            <a:chExt cx="2482423" cy="253448"/>
          </a:xfrm>
        </p:grpSpPr>
        <p:grpSp>
          <p:nvGrpSpPr>
            <p:cNvPr id="97" name="Group 47"/>
            <p:cNvGrpSpPr/>
            <p:nvPr/>
          </p:nvGrpSpPr>
          <p:grpSpPr>
            <a:xfrm>
              <a:off x="2013158" y="1594364"/>
              <a:ext cx="2482423" cy="253448"/>
              <a:chOff x="2378437" y="2224396"/>
              <a:chExt cx="2423307" cy="253448"/>
            </a:xfrm>
          </p:grpSpPr>
          <p:sp>
            <p:nvSpPr>
              <p:cNvPr id="109" name="Rectangle 49"/>
              <p:cNvSpPr/>
              <p:nvPr/>
            </p:nvSpPr>
            <p:spPr>
              <a:xfrm>
                <a:off x="2911292" y="2252755"/>
                <a:ext cx="1051992" cy="182880"/>
              </a:xfrm>
              <a:prstGeom prst="rect">
                <a:avLst/>
              </a:prstGeom>
              <a:ln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TextBox 50"/>
              <p:cNvSpPr txBox="1"/>
              <p:nvPr/>
            </p:nvSpPr>
            <p:spPr>
              <a:xfrm>
                <a:off x="2378437" y="2224396"/>
                <a:ext cx="78871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SG" sz="1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01 Sep</a:t>
                </a:r>
              </a:p>
            </p:txBody>
          </p:sp>
          <p:sp>
            <p:nvSpPr>
              <p:cNvPr id="122" name="Isosceles Triangle 51"/>
              <p:cNvSpPr/>
              <p:nvPr/>
            </p:nvSpPr>
            <p:spPr>
              <a:xfrm>
                <a:off x="3859014" y="2244141"/>
                <a:ext cx="182473" cy="182880"/>
              </a:xfrm>
              <a:prstGeom prst="triangle">
                <a:avLst>
                  <a:gd name="adj" fmla="val 48226"/>
                </a:avLst>
              </a:prstGeom>
              <a:ln/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3" name="TextBox 62"/>
              <p:cNvSpPr txBox="1"/>
              <p:nvPr/>
            </p:nvSpPr>
            <p:spPr>
              <a:xfrm>
                <a:off x="3959069" y="2231623"/>
                <a:ext cx="84267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SG" sz="1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01 Oct</a:t>
                </a:r>
              </a:p>
            </p:txBody>
          </p:sp>
        </p:grpSp>
        <p:sp>
          <p:nvSpPr>
            <p:cNvPr id="53" name="Isosceles Triangle 52"/>
            <p:cNvSpPr/>
            <p:nvPr/>
          </p:nvSpPr>
          <p:spPr>
            <a:xfrm>
              <a:off x="2485896" y="1615498"/>
              <a:ext cx="186925" cy="182880"/>
            </a:xfrm>
            <a:prstGeom prst="triangle">
              <a:avLst>
                <a:gd name="adj" fmla="val 48226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4" name="Isosceles Triangle 53"/>
          <p:cNvSpPr/>
          <p:nvPr/>
        </p:nvSpPr>
        <p:spPr>
          <a:xfrm>
            <a:off x="3529855" y="4340397"/>
            <a:ext cx="186925" cy="195603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Isosceles Triangle 54"/>
          <p:cNvSpPr/>
          <p:nvPr/>
        </p:nvSpPr>
        <p:spPr>
          <a:xfrm>
            <a:off x="5587791" y="4357073"/>
            <a:ext cx="186925" cy="195603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Isosceles Triangle 55"/>
          <p:cNvSpPr/>
          <p:nvPr/>
        </p:nvSpPr>
        <p:spPr>
          <a:xfrm>
            <a:off x="6624112" y="5012394"/>
            <a:ext cx="186925" cy="182880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Isosceles Triangle 56"/>
          <p:cNvSpPr/>
          <p:nvPr/>
        </p:nvSpPr>
        <p:spPr>
          <a:xfrm>
            <a:off x="3527183" y="5012394"/>
            <a:ext cx="186925" cy="182880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Isosceles Triangle 57"/>
          <p:cNvSpPr/>
          <p:nvPr/>
        </p:nvSpPr>
        <p:spPr>
          <a:xfrm>
            <a:off x="4546133" y="3139031"/>
            <a:ext cx="186925" cy="195603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Isosceles Triangle 58"/>
          <p:cNvSpPr/>
          <p:nvPr/>
        </p:nvSpPr>
        <p:spPr>
          <a:xfrm>
            <a:off x="2485896" y="5769837"/>
            <a:ext cx="186925" cy="195603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Isosceles Triangle 60"/>
          <p:cNvSpPr/>
          <p:nvPr/>
        </p:nvSpPr>
        <p:spPr>
          <a:xfrm>
            <a:off x="4546132" y="3697492"/>
            <a:ext cx="186925" cy="182880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Isosceles Triangle 61"/>
          <p:cNvSpPr/>
          <p:nvPr/>
        </p:nvSpPr>
        <p:spPr>
          <a:xfrm>
            <a:off x="3529855" y="3692134"/>
            <a:ext cx="186925" cy="182880"/>
          </a:xfrm>
          <a:prstGeom prst="triangle">
            <a:avLst>
              <a:gd name="adj" fmla="val 48226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4659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f4&quot; g=&quot;68&quot; b=&quot;81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f5&quot; g=&quot;6d&quot; b=&quot;85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0_Singtel_CF_SIW11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E1E1E1"/>
      </a:lt2>
      <a:accent1>
        <a:srgbClr val="ED1A3D"/>
      </a:accent1>
      <a:accent2>
        <a:srgbClr val="F46881"/>
      </a:accent2>
      <a:accent3>
        <a:srgbClr val="F8A6B4"/>
      </a:accent3>
      <a:accent4>
        <a:srgbClr val="FCD4DB"/>
      </a:accent4>
      <a:accent5>
        <a:srgbClr val="535353"/>
      </a:accent5>
      <a:accent6>
        <a:srgbClr val="808080"/>
      </a:accent6>
      <a:hlink>
        <a:srgbClr val="F8A6B4"/>
      </a:hlink>
      <a:folHlink>
        <a:srgbClr val="FCD4DB"/>
      </a:folHlink>
    </a:clrScheme>
    <a:fontScheme name="Custom 217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E1E1E1"/>
        </a:lt2>
        <a:accent1>
          <a:srgbClr val="ED1A3D"/>
        </a:accent1>
        <a:accent2>
          <a:srgbClr val="F46881"/>
        </a:accent2>
        <a:accent3>
          <a:srgbClr val="F8A6B4"/>
        </a:accent3>
        <a:accent4>
          <a:srgbClr val="FCD4DB"/>
        </a:accent4>
        <a:accent5>
          <a:srgbClr val="535353"/>
        </a:accent5>
        <a:accent6>
          <a:srgbClr val="808080"/>
        </a:accent6>
        <a:hlink>
          <a:srgbClr val="F8A6B4"/>
        </a:hlink>
        <a:folHlink>
          <a:srgbClr val="FCD4D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1_Singtel_CF_SIW11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E1E1E1"/>
      </a:lt2>
      <a:accent1>
        <a:srgbClr val="ED1A3D"/>
      </a:accent1>
      <a:accent2>
        <a:srgbClr val="F46881"/>
      </a:accent2>
      <a:accent3>
        <a:srgbClr val="F8A6B4"/>
      </a:accent3>
      <a:accent4>
        <a:srgbClr val="FCD4DB"/>
      </a:accent4>
      <a:accent5>
        <a:srgbClr val="535353"/>
      </a:accent5>
      <a:accent6>
        <a:srgbClr val="808080"/>
      </a:accent6>
      <a:hlink>
        <a:srgbClr val="F8A6B4"/>
      </a:hlink>
      <a:folHlink>
        <a:srgbClr val="FCD4DB"/>
      </a:folHlink>
    </a:clrScheme>
    <a:fontScheme name="Custom 217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E1E1E1"/>
        </a:lt2>
        <a:accent1>
          <a:srgbClr val="ED1A3D"/>
        </a:accent1>
        <a:accent2>
          <a:srgbClr val="F46881"/>
        </a:accent2>
        <a:accent3>
          <a:srgbClr val="F8A6B4"/>
        </a:accent3>
        <a:accent4>
          <a:srgbClr val="FCD4DB"/>
        </a:accent4>
        <a:accent5>
          <a:srgbClr val="535353"/>
        </a:accent5>
        <a:accent6>
          <a:srgbClr val="808080"/>
        </a:accent6>
        <a:hlink>
          <a:srgbClr val="F8A6B4"/>
        </a:hlink>
        <a:folHlink>
          <a:srgbClr val="FCD4D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2_Singtel_CF_SIW11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E1E1E1"/>
      </a:lt2>
      <a:accent1>
        <a:srgbClr val="ED1A3D"/>
      </a:accent1>
      <a:accent2>
        <a:srgbClr val="F46881"/>
      </a:accent2>
      <a:accent3>
        <a:srgbClr val="F8A6B4"/>
      </a:accent3>
      <a:accent4>
        <a:srgbClr val="FCD4DB"/>
      </a:accent4>
      <a:accent5>
        <a:srgbClr val="535353"/>
      </a:accent5>
      <a:accent6>
        <a:srgbClr val="808080"/>
      </a:accent6>
      <a:hlink>
        <a:srgbClr val="F8A6B4"/>
      </a:hlink>
      <a:folHlink>
        <a:srgbClr val="FCD4DB"/>
      </a:folHlink>
    </a:clrScheme>
    <a:fontScheme name="Custom 217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E1E1E1"/>
        </a:lt2>
        <a:accent1>
          <a:srgbClr val="ED1A3D"/>
        </a:accent1>
        <a:accent2>
          <a:srgbClr val="F46881"/>
        </a:accent2>
        <a:accent3>
          <a:srgbClr val="F8A6B4"/>
        </a:accent3>
        <a:accent4>
          <a:srgbClr val="FCD4DB"/>
        </a:accent4>
        <a:accent5>
          <a:srgbClr val="535353"/>
        </a:accent5>
        <a:accent6>
          <a:srgbClr val="808080"/>
        </a:accent6>
        <a:hlink>
          <a:srgbClr val="F8A6B4"/>
        </a:hlink>
        <a:folHlink>
          <a:srgbClr val="FCD4D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B1D4E38D9C5C49ACE29F9DD7F38E83" ma:contentTypeVersion="2" ma:contentTypeDescription="Create a new document." ma:contentTypeScope="" ma:versionID="06d4a5d42cbedb3ec651714432d70e59">
  <xsd:schema xmlns:xsd="http://www.w3.org/2001/XMLSchema" xmlns:xs="http://www.w3.org/2001/XMLSchema" xmlns:p="http://schemas.microsoft.com/office/2006/metadata/properties" xmlns:ns2="69de6fe0-c36c-43de-ac39-94a7f8b942f7" targetNamespace="http://schemas.microsoft.com/office/2006/metadata/properties" ma:root="true" ma:fieldsID="c8535700a37597f7c92fa375169b0069" ns2:_="">
    <xsd:import namespace="69de6fe0-c36c-43de-ac39-94a7f8b942f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de6fe0-c36c-43de-ac39-94a7f8b942f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68C6B7-FB58-4978-8F06-E0366D98A098}">
  <ds:schemaRefs>
    <ds:schemaRef ds:uri="http://purl.org/dc/elements/1.1/"/>
    <ds:schemaRef ds:uri="http://schemas.microsoft.com/office/2006/metadata/properties"/>
    <ds:schemaRef ds:uri="69de6fe0-c36c-43de-ac39-94a7f8b942f7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AD3793D-1CDF-4F66-8318-3D268820CF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de6fe0-c36c-43de-ac39-94a7f8b942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0538DD8-1045-42AA-BF45-892D8B883CF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ngtel_CF_SIW119</Template>
  <TotalTime>3555</TotalTime>
  <Words>1919</Words>
  <Application>Microsoft Office PowerPoint</Application>
  <PresentationFormat>On-screen Show (4:3)</PresentationFormat>
  <Paragraphs>743</Paragraphs>
  <Slides>2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1" baseType="lpstr">
      <vt:lpstr>Arial Unicode MS</vt:lpstr>
      <vt:lpstr>ＭＳ Ｐゴシック</vt:lpstr>
      <vt:lpstr>宋体</vt:lpstr>
      <vt:lpstr>宋体</vt:lpstr>
      <vt:lpstr>Arial</vt:lpstr>
      <vt:lpstr>Calibri</vt:lpstr>
      <vt:lpstr>Century Gothic</vt:lpstr>
      <vt:lpstr>Wingdings</vt:lpstr>
      <vt:lpstr>10_Singtel_CF_SIW119</vt:lpstr>
      <vt:lpstr>11_Singtel_CF_SIW119</vt:lpstr>
      <vt:lpstr>12_Singtel_CF_SIW119</vt:lpstr>
      <vt:lpstr>think-cell Slide</vt:lpstr>
      <vt:lpstr>CapitaLand IT Outsourcing Manage Services</vt:lpstr>
      <vt:lpstr>Agenda</vt:lpstr>
      <vt:lpstr>Agenda</vt:lpstr>
      <vt:lpstr>Introduction - The Singtel Team</vt:lpstr>
      <vt:lpstr>Agenda</vt:lpstr>
      <vt:lpstr>Transition and Transformation Management</vt:lpstr>
      <vt:lpstr>Transition Schedule</vt:lpstr>
      <vt:lpstr>Stabilization Schedule</vt:lpstr>
      <vt:lpstr>Transformation Timeline - Asset Management </vt:lpstr>
      <vt:lpstr>Transformation Timeline - System and App Monitoring</vt:lpstr>
      <vt:lpstr>Transformation Timeline - ITSM &amp; Portal</vt:lpstr>
      <vt:lpstr>Transformation Timeline - Solarwinds</vt:lpstr>
      <vt:lpstr>Agenda</vt:lpstr>
      <vt:lpstr>Solution Review: Overall Architecture</vt:lpstr>
      <vt:lpstr>People, Process, Tools</vt:lpstr>
      <vt:lpstr>People, Process, Tools</vt:lpstr>
      <vt:lpstr>Agenda</vt:lpstr>
      <vt:lpstr>Transition and Transformation Overview</vt:lpstr>
      <vt:lpstr>Programme Governance</vt:lpstr>
      <vt:lpstr>Governance</vt:lpstr>
      <vt:lpstr>Steering Committee</vt:lpstr>
      <vt:lpstr>Transition Organisation Chart (INFRA &amp; EUC)</vt:lpstr>
      <vt:lpstr>Operating Rhythm</vt:lpstr>
      <vt:lpstr>Communication Plan</vt:lpstr>
      <vt:lpstr>Agenda</vt:lpstr>
      <vt:lpstr>Key Milestones &amp; Deliverables</vt:lpstr>
      <vt:lpstr>Key Milestones &amp; Deliverables</vt:lpstr>
      <vt:lpstr>Key Milestones &amp; Deliverables</vt:lpstr>
      <vt:lpstr>Q&amp;A Sess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David Tan</dc:creator>
  <cp:lastModifiedBy>Ivan Tiu Jin Chuan</cp:lastModifiedBy>
  <cp:revision>663</cp:revision>
  <cp:lastPrinted>2015-04-29T01:25:16Z</cp:lastPrinted>
  <dcterms:created xsi:type="dcterms:W3CDTF">2015-04-27T20:31:34Z</dcterms:created>
  <dcterms:modified xsi:type="dcterms:W3CDTF">2016-04-27T01:3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4/28/2015 1:24:26 AM</vt:lpwstr>
  </property>
  <property fmtid="{D5CDD505-2E9C-101B-9397-08002B2CF9AE}" pid="12" name="Office2010WasSaved">
    <vt:lpwstr>1</vt:lpwstr>
  </property>
  <property fmtid="{D5CDD505-2E9C-101B-9397-08002B2CF9AE}" pid="13" name="ContentTypeId">
    <vt:lpwstr>0x01010011B1D4E38D9C5C49ACE29F9DD7F38E83</vt:lpwstr>
  </property>
  <property fmtid="{D5CDD505-2E9C-101B-9397-08002B2CF9AE}" pid="14" name="VGCompatibilityCheck Run On">
    <vt:lpwstr>4/28/2015 1:24:26 AM</vt:lpwstr>
  </property>
</Properties>
</file>